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21"/>
  </p:notesMasterIdLst>
  <p:handoutMasterIdLst>
    <p:handoutMasterId r:id="rId22"/>
  </p:handoutMasterIdLst>
  <p:sldIdLst>
    <p:sldId id="260" r:id="rId5"/>
    <p:sldId id="261" r:id="rId6"/>
    <p:sldId id="262" r:id="rId7"/>
    <p:sldId id="2147480244" r:id="rId8"/>
    <p:sldId id="2147480241" r:id="rId9"/>
    <p:sldId id="271" r:id="rId10"/>
    <p:sldId id="273" r:id="rId11"/>
    <p:sldId id="2147480245" r:id="rId12"/>
    <p:sldId id="2147480243" r:id="rId13"/>
    <p:sldId id="2147473684" r:id="rId14"/>
    <p:sldId id="2147473687" r:id="rId15"/>
    <p:sldId id="2147473681" r:id="rId16"/>
    <p:sldId id="2147471528" r:id="rId17"/>
    <p:sldId id="2147480246" r:id="rId18"/>
    <p:sldId id="5579" r:id="rId19"/>
    <p:sldId id="270" r:id="rId2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DA291C"/>
    <a:srgbClr val="959CA0"/>
    <a:srgbClr val="FE8A12"/>
    <a:srgbClr val="F4C65A"/>
    <a:srgbClr val="FFE2C4"/>
    <a:srgbClr val="FEC488"/>
    <a:srgbClr val="7FD1EF"/>
    <a:srgbClr val="A1D794"/>
    <a:srgbClr val="72C4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6CEFD4-6236-D849-A18F-5D2001A7C26A}" v="65" dt="2024-11-06T13:12:36.982"/>
    <p1510:client id="{7BFBB14F-D643-496B-BC7F-BFEDB3E06731}" v="28" dt="2024-11-06T14:57:37.4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4725" autoAdjust="0"/>
  </p:normalViewPr>
  <p:slideViewPr>
    <p:cSldViewPr snapToGrid="0">
      <p:cViewPr varScale="1">
        <p:scale>
          <a:sx n="80" d="100"/>
          <a:sy n="80" d="100"/>
        </p:scale>
        <p:origin x="48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1/7/2024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1/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place Ceros – add list of modules (they’re in website module deck), defuse additional click objection – engagement is what matters. Replaces all the Arc modul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059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mpact stories are a good example use case for this modul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00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ps - Garret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06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</a:t>
            </a:r>
            <a:br>
              <a:rPr lang="en-US" dirty="0"/>
            </a:br>
            <a:r>
              <a:rPr lang="en-US" dirty="0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10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7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445997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6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9" r:id="rId6"/>
    <p:sldLayoutId id="2147484280" r:id="rId7"/>
    <p:sldLayoutId id="2147484240" r:id="rId8"/>
    <p:sldLayoutId id="2147484241" r:id="rId9"/>
    <p:sldLayoutId id="2147484242" r:id="rId10"/>
    <p:sldLayoutId id="2147484243" r:id="rId11"/>
    <p:sldLayoutId id="2147484244" r:id="rId12"/>
    <p:sldLayoutId id="2147484245" r:id="rId13"/>
    <p:sldLayoutId id="2147484246" r:id="rId14"/>
    <p:sldLayoutId id="2147484247" r:id="rId15"/>
    <p:sldLayoutId id="2147484248" r:id="rId16"/>
    <p:sldLayoutId id="2147484249" r:id="rId17"/>
    <p:sldLayoutId id="2147484250" r:id="rId18"/>
    <p:sldLayoutId id="2147484251" r:id="rId19"/>
    <p:sldLayoutId id="2147484252" r:id="rId20"/>
    <p:sldLayoutId id="2147484253" r:id="rId21"/>
    <p:sldLayoutId id="2147484254" r:id="rId22"/>
    <p:sldLayoutId id="2147484255" r:id="rId23"/>
    <p:sldLayoutId id="2147484256" r:id="rId24"/>
    <p:sldLayoutId id="2147484281" r:id="rId25"/>
    <p:sldLayoutId id="2147484282" r:id="rId26"/>
    <p:sldLayoutId id="2147484283" r:id="rId27"/>
    <p:sldLayoutId id="2147484284" r:id="rId28"/>
    <p:sldLayoutId id="2147484285" r:id="rId29"/>
    <p:sldLayoutId id="2147484286" r:id="rId30"/>
    <p:sldLayoutId id="2147484287" r:id="rId31"/>
    <p:sldLayoutId id="2147484288" r:id="rId32"/>
    <p:sldLayoutId id="2147484289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brandworld.iqvia.com/guidelines/guide/bf2ae22c-d796-4613-bc79-ca168125730a/page/92c0f85b-3d67-4e41-bb4d-029220fb56b7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://cms-www.work.iqvia.com/landing/module-gallery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F8D506-B3D3-49B3-85B0-129BCC5133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t Topics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6AFAF-2B5B-4A50-9008-998B2C9A03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rketing Oper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3DBC8B-FF70-423E-AE3E-988A9928E7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hil Cuff</a:t>
            </a:r>
          </a:p>
          <a:p>
            <a:r>
              <a:rPr lang="en-US" dirty="0"/>
              <a:t>6</a:t>
            </a:r>
            <a:r>
              <a:rPr lang="en-US" baseline="30000" dirty="0"/>
              <a:t>th</a:t>
            </a:r>
            <a:r>
              <a:rPr lang="en-US" dirty="0"/>
              <a:t>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80863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69F31-BF85-614E-9D06-00989F090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728" y="560960"/>
            <a:ext cx="4739097" cy="768263"/>
          </a:xfrm>
        </p:spPr>
        <p:txBody>
          <a:bodyPr/>
          <a:lstStyle/>
          <a:p>
            <a:r>
              <a:rPr lang="en-US">
                <a:ea typeface="+mj-lt"/>
                <a:cs typeface="+mj-lt"/>
              </a:rPr>
              <a:t>Enhanced proof point modules</a:t>
            </a:r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53AA08-F1D5-EC49-97EC-8A66AE278B3F}"/>
              </a:ext>
            </a:extLst>
          </p:cNvPr>
          <p:cNvSpPr/>
          <p:nvPr/>
        </p:nvSpPr>
        <p:spPr>
          <a:xfrm>
            <a:off x="432735" y="1441739"/>
            <a:ext cx="3216124" cy="4512624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45720" rtlCol="0" anchor="ctr" anchorCtr="0"/>
          <a:lstStyle/>
          <a:p>
            <a:r>
              <a:rPr lang="en-GB" sz="1600" b="1" i="1">
                <a:solidFill>
                  <a:schemeClr val="tx1"/>
                </a:solidFill>
                <a:ea typeface="+mn-lt"/>
                <a:cs typeface="+mn-lt"/>
              </a:rPr>
              <a:t>Enhanced Proof-point modules </a:t>
            </a: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now available. Adding more variety, including various numerical call-outs and improved carousel experience to make stats or claims pop much more for users.</a:t>
            </a:r>
            <a:endParaRPr lang="en-GB" sz="160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B29B5A6-B908-845D-884C-F59745FFCEA4}"/>
              </a:ext>
            </a:extLst>
          </p:cNvPr>
          <p:cNvGrpSpPr/>
          <p:nvPr/>
        </p:nvGrpSpPr>
        <p:grpSpPr>
          <a:xfrm>
            <a:off x="3648859" y="1465951"/>
            <a:ext cx="1408608" cy="4464200"/>
            <a:chOff x="3959463" y="1519851"/>
            <a:chExt cx="1408608" cy="4464200"/>
          </a:xfrm>
        </p:grpSpPr>
        <p:sp>
          <p:nvSpPr>
            <p:cNvPr id="6" name="Rectangle: Rounded Corners 7">
              <a:extLst>
                <a:ext uri="{FF2B5EF4-FFF2-40B4-BE49-F238E27FC236}">
                  <a16:creationId xmlns:a16="http://schemas.microsoft.com/office/drawing/2014/main" id="{B67B4428-E908-1F1D-8914-1E6AEC3C3E61}"/>
                </a:ext>
              </a:extLst>
            </p:cNvPr>
            <p:cNvSpPr/>
            <p:nvPr/>
          </p:nvSpPr>
          <p:spPr>
            <a:xfrm rot="10800000">
              <a:off x="3959463" y="1519851"/>
              <a:ext cx="659174" cy="4464200"/>
            </a:xfrm>
            <a:custGeom>
              <a:avLst/>
              <a:gdLst>
                <a:gd name="connsiteX0" fmla="*/ 0 w 1541806"/>
                <a:gd name="connsiteY0" fmla="*/ 770903 h 4645573"/>
                <a:gd name="connsiteX1" fmla="*/ 770903 w 1541806"/>
                <a:gd name="connsiteY1" fmla="*/ 0 h 4645573"/>
                <a:gd name="connsiteX2" fmla="*/ 770903 w 1541806"/>
                <a:gd name="connsiteY2" fmla="*/ 0 h 4645573"/>
                <a:gd name="connsiteX3" fmla="*/ 1541806 w 1541806"/>
                <a:gd name="connsiteY3" fmla="*/ 770903 h 4645573"/>
                <a:gd name="connsiteX4" fmla="*/ 1541806 w 1541806"/>
                <a:gd name="connsiteY4" fmla="*/ 3874670 h 4645573"/>
                <a:gd name="connsiteX5" fmla="*/ 770903 w 1541806"/>
                <a:gd name="connsiteY5" fmla="*/ 4645573 h 4645573"/>
                <a:gd name="connsiteX6" fmla="*/ 770903 w 1541806"/>
                <a:gd name="connsiteY6" fmla="*/ 4645573 h 4645573"/>
                <a:gd name="connsiteX7" fmla="*/ 0 w 1541806"/>
                <a:gd name="connsiteY7" fmla="*/ 3874670 h 4645573"/>
                <a:gd name="connsiteX8" fmla="*/ 0 w 1541806"/>
                <a:gd name="connsiteY8" fmla="*/ 770903 h 4645573"/>
                <a:gd name="connsiteX0" fmla="*/ 1541806 w 1633246"/>
                <a:gd name="connsiteY0" fmla="*/ 770903 h 4645573"/>
                <a:gd name="connsiteX1" fmla="*/ 1541806 w 1633246"/>
                <a:gd name="connsiteY1" fmla="*/ 3874670 h 4645573"/>
                <a:gd name="connsiteX2" fmla="*/ 770903 w 1633246"/>
                <a:gd name="connsiteY2" fmla="*/ 4645573 h 4645573"/>
                <a:gd name="connsiteX3" fmla="*/ 770903 w 1633246"/>
                <a:gd name="connsiteY3" fmla="*/ 4645573 h 4645573"/>
                <a:gd name="connsiteX4" fmla="*/ 0 w 1633246"/>
                <a:gd name="connsiteY4" fmla="*/ 3874670 h 4645573"/>
                <a:gd name="connsiteX5" fmla="*/ 0 w 1633246"/>
                <a:gd name="connsiteY5" fmla="*/ 770903 h 4645573"/>
                <a:gd name="connsiteX6" fmla="*/ 770903 w 1633246"/>
                <a:gd name="connsiteY6" fmla="*/ 0 h 4645573"/>
                <a:gd name="connsiteX7" fmla="*/ 770903 w 1633246"/>
                <a:gd name="connsiteY7" fmla="*/ 0 h 4645573"/>
                <a:gd name="connsiteX8" fmla="*/ 1633246 w 1633246"/>
                <a:gd name="connsiteY8" fmla="*/ 862343 h 4645573"/>
                <a:gd name="connsiteX0" fmla="*/ 1541806 w 1541806"/>
                <a:gd name="connsiteY0" fmla="*/ 770903 h 4645573"/>
                <a:gd name="connsiteX1" fmla="*/ 1541806 w 1541806"/>
                <a:gd name="connsiteY1" fmla="*/ 3874670 h 4645573"/>
                <a:gd name="connsiteX2" fmla="*/ 770903 w 1541806"/>
                <a:gd name="connsiteY2" fmla="*/ 4645573 h 4645573"/>
                <a:gd name="connsiteX3" fmla="*/ 770903 w 1541806"/>
                <a:gd name="connsiteY3" fmla="*/ 4645573 h 4645573"/>
                <a:gd name="connsiteX4" fmla="*/ 0 w 1541806"/>
                <a:gd name="connsiteY4" fmla="*/ 3874670 h 4645573"/>
                <a:gd name="connsiteX5" fmla="*/ 0 w 1541806"/>
                <a:gd name="connsiteY5" fmla="*/ 770903 h 4645573"/>
                <a:gd name="connsiteX6" fmla="*/ 770903 w 1541806"/>
                <a:gd name="connsiteY6" fmla="*/ 0 h 4645573"/>
                <a:gd name="connsiteX7" fmla="*/ 770903 w 1541806"/>
                <a:gd name="connsiteY7" fmla="*/ 0 h 4645573"/>
                <a:gd name="connsiteX0" fmla="*/ 1541806 w 1541806"/>
                <a:gd name="connsiteY0" fmla="*/ 3874670 h 4645573"/>
                <a:gd name="connsiteX1" fmla="*/ 770903 w 1541806"/>
                <a:gd name="connsiteY1" fmla="*/ 4645573 h 4645573"/>
                <a:gd name="connsiteX2" fmla="*/ 770903 w 1541806"/>
                <a:gd name="connsiteY2" fmla="*/ 4645573 h 4645573"/>
                <a:gd name="connsiteX3" fmla="*/ 0 w 1541806"/>
                <a:gd name="connsiteY3" fmla="*/ 3874670 h 4645573"/>
                <a:gd name="connsiteX4" fmla="*/ 0 w 1541806"/>
                <a:gd name="connsiteY4" fmla="*/ 770903 h 4645573"/>
                <a:gd name="connsiteX5" fmla="*/ 770903 w 1541806"/>
                <a:gd name="connsiteY5" fmla="*/ 0 h 4645573"/>
                <a:gd name="connsiteX6" fmla="*/ 770903 w 1541806"/>
                <a:gd name="connsiteY6" fmla="*/ 0 h 4645573"/>
                <a:gd name="connsiteX0" fmla="*/ 770903 w 770903"/>
                <a:gd name="connsiteY0" fmla="*/ 4645573 h 4645573"/>
                <a:gd name="connsiteX1" fmla="*/ 770903 w 770903"/>
                <a:gd name="connsiteY1" fmla="*/ 4645573 h 4645573"/>
                <a:gd name="connsiteX2" fmla="*/ 0 w 770903"/>
                <a:gd name="connsiteY2" fmla="*/ 3874670 h 4645573"/>
                <a:gd name="connsiteX3" fmla="*/ 0 w 770903"/>
                <a:gd name="connsiteY3" fmla="*/ 770903 h 4645573"/>
                <a:gd name="connsiteX4" fmla="*/ 770903 w 770903"/>
                <a:gd name="connsiteY4" fmla="*/ 0 h 4645573"/>
                <a:gd name="connsiteX5" fmla="*/ 770903 w 770903"/>
                <a:gd name="connsiteY5" fmla="*/ 0 h 464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0903" h="4645573">
                  <a:moveTo>
                    <a:pt x="770903" y="4645573"/>
                  </a:moveTo>
                  <a:lnTo>
                    <a:pt x="770903" y="4645573"/>
                  </a:lnTo>
                  <a:cubicBezTo>
                    <a:pt x="345145" y="4645573"/>
                    <a:pt x="0" y="4300428"/>
                    <a:pt x="0" y="3874670"/>
                  </a:cubicBezTo>
                  <a:lnTo>
                    <a:pt x="0" y="770903"/>
                  </a:lnTo>
                  <a:cubicBezTo>
                    <a:pt x="0" y="345145"/>
                    <a:pt x="345145" y="0"/>
                    <a:pt x="770903" y="0"/>
                  </a:cubicBezTo>
                  <a:lnTo>
                    <a:pt x="770903" y="0"/>
                  </a:lnTo>
                </a:path>
              </a:pathLst>
            </a:custGeom>
            <a:noFill/>
            <a:ln w="19050" cap="rnd">
              <a:solidFill>
                <a:srgbClr val="CACED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07D9A24F-484B-2849-E9D4-F35DAF242095}"/>
                </a:ext>
              </a:extLst>
            </p:cNvPr>
            <p:cNvCxnSpPr>
              <a:cxnSpLocks/>
            </p:cNvCxnSpPr>
            <p:nvPr/>
          </p:nvCxnSpPr>
          <p:spPr>
            <a:xfrm>
              <a:off x="4623371" y="3751951"/>
              <a:ext cx="744700" cy="0"/>
            </a:xfrm>
            <a:prstGeom prst="straightConnector1">
              <a:avLst/>
            </a:prstGeom>
            <a:ln w="19050" cap="rnd">
              <a:solidFill>
                <a:srgbClr val="CACED1"/>
              </a:solidFill>
              <a:round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Explosion: 8 Points 7">
            <a:extLst>
              <a:ext uri="{FF2B5EF4-FFF2-40B4-BE49-F238E27FC236}">
                <a16:creationId xmlns:a16="http://schemas.microsoft.com/office/drawing/2014/main" id="{C2B6D3CB-7310-9ECB-3704-D9A298D0FF1D}"/>
              </a:ext>
            </a:extLst>
          </p:cNvPr>
          <p:cNvSpPr/>
          <p:nvPr/>
        </p:nvSpPr>
        <p:spPr>
          <a:xfrm>
            <a:off x="10961511" y="0"/>
            <a:ext cx="1230489" cy="1004710"/>
          </a:xfrm>
          <a:prstGeom prst="irregularSeal1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>
                <a:cs typeface="Arial"/>
              </a:rPr>
              <a:t>LIV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809750-F067-8F4E-5718-F2959D5015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5761" y="1236056"/>
            <a:ext cx="4808414" cy="471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6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69F31-BF85-614E-9D06-00989F09012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2594" y="488157"/>
            <a:ext cx="4740275" cy="768350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r>
              <a:rPr lang="en-US" sz="2800" b="1">
                <a:ea typeface="+mj-lt"/>
                <a:cs typeface="+mj-lt"/>
              </a:rPr>
              <a:t>Tabbed Popup Widget</a:t>
            </a:r>
            <a:br>
              <a:rPr lang="en-US" sz="2800" b="1">
                <a:ea typeface="+mj-lt"/>
                <a:cs typeface="+mj-lt"/>
              </a:rPr>
            </a:br>
            <a:endParaRPr lang="en-US" b="1">
              <a:highlight>
                <a:srgbClr val="FFFF00"/>
              </a:highlight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53AA08-F1D5-EC49-97EC-8A66AE278B3F}"/>
              </a:ext>
            </a:extLst>
          </p:cNvPr>
          <p:cNvSpPr/>
          <p:nvPr/>
        </p:nvSpPr>
        <p:spPr>
          <a:xfrm>
            <a:off x="432735" y="1441739"/>
            <a:ext cx="3216124" cy="4512624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45720" rtlCol="0" anchor="ctr" anchorCtr="0"/>
          <a:lstStyle/>
          <a:p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New </a:t>
            </a:r>
            <a:r>
              <a:rPr lang="en-GB" sz="1600" b="1" i="1">
                <a:solidFill>
                  <a:schemeClr val="tx1"/>
                </a:solidFill>
                <a:ea typeface="+mn-lt"/>
                <a:cs typeface="+mn-lt"/>
              </a:rPr>
              <a:t>Tabbed Popup Widget </a:t>
            </a: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available for use in your page layouts. Designed for a suite of products or multiple related offerings/topics, this interactive module opens content within a pop-up window to allow visitors to deep dive into content without leaving the page.</a:t>
            </a:r>
            <a:endParaRPr lang="en-US" sz="160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endParaRPr lang="en-GB" sz="1600">
              <a:solidFill>
                <a:schemeClr val="tx1"/>
              </a:solidFill>
              <a:cs typeface="Arial"/>
            </a:endParaRPr>
          </a:p>
          <a:p>
            <a:pPr>
              <a:spcAft>
                <a:spcPts val="600"/>
              </a:spcAft>
            </a:pPr>
            <a:endParaRPr lang="en-GB" sz="160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F6BEF66-6157-1698-712D-57960E8BF6AA}"/>
              </a:ext>
            </a:extLst>
          </p:cNvPr>
          <p:cNvGrpSpPr/>
          <p:nvPr/>
        </p:nvGrpSpPr>
        <p:grpSpPr>
          <a:xfrm>
            <a:off x="3648859" y="1465951"/>
            <a:ext cx="1408608" cy="4464200"/>
            <a:chOff x="3959463" y="1519851"/>
            <a:chExt cx="1408608" cy="4464200"/>
          </a:xfrm>
        </p:grpSpPr>
        <p:sp>
          <p:nvSpPr>
            <p:cNvPr id="13" name="Rectangle: Rounded Corners 7">
              <a:extLst>
                <a:ext uri="{FF2B5EF4-FFF2-40B4-BE49-F238E27FC236}">
                  <a16:creationId xmlns:a16="http://schemas.microsoft.com/office/drawing/2014/main" id="{5E3998C4-8502-2A60-548E-374C8A33D969}"/>
                </a:ext>
              </a:extLst>
            </p:cNvPr>
            <p:cNvSpPr/>
            <p:nvPr/>
          </p:nvSpPr>
          <p:spPr>
            <a:xfrm rot="10800000">
              <a:off x="3959463" y="1519851"/>
              <a:ext cx="659174" cy="4464200"/>
            </a:xfrm>
            <a:custGeom>
              <a:avLst/>
              <a:gdLst>
                <a:gd name="connsiteX0" fmla="*/ 0 w 1541806"/>
                <a:gd name="connsiteY0" fmla="*/ 770903 h 4645573"/>
                <a:gd name="connsiteX1" fmla="*/ 770903 w 1541806"/>
                <a:gd name="connsiteY1" fmla="*/ 0 h 4645573"/>
                <a:gd name="connsiteX2" fmla="*/ 770903 w 1541806"/>
                <a:gd name="connsiteY2" fmla="*/ 0 h 4645573"/>
                <a:gd name="connsiteX3" fmla="*/ 1541806 w 1541806"/>
                <a:gd name="connsiteY3" fmla="*/ 770903 h 4645573"/>
                <a:gd name="connsiteX4" fmla="*/ 1541806 w 1541806"/>
                <a:gd name="connsiteY4" fmla="*/ 3874670 h 4645573"/>
                <a:gd name="connsiteX5" fmla="*/ 770903 w 1541806"/>
                <a:gd name="connsiteY5" fmla="*/ 4645573 h 4645573"/>
                <a:gd name="connsiteX6" fmla="*/ 770903 w 1541806"/>
                <a:gd name="connsiteY6" fmla="*/ 4645573 h 4645573"/>
                <a:gd name="connsiteX7" fmla="*/ 0 w 1541806"/>
                <a:gd name="connsiteY7" fmla="*/ 3874670 h 4645573"/>
                <a:gd name="connsiteX8" fmla="*/ 0 w 1541806"/>
                <a:gd name="connsiteY8" fmla="*/ 770903 h 4645573"/>
                <a:gd name="connsiteX0" fmla="*/ 1541806 w 1633246"/>
                <a:gd name="connsiteY0" fmla="*/ 770903 h 4645573"/>
                <a:gd name="connsiteX1" fmla="*/ 1541806 w 1633246"/>
                <a:gd name="connsiteY1" fmla="*/ 3874670 h 4645573"/>
                <a:gd name="connsiteX2" fmla="*/ 770903 w 1633246"/>
                <a:gd name="connsiteY2" fmla="*/ 4645573 h 4645573"/>
                <a:gd name="connsiteX3" fmla="*/ 770903 w 1633246"/>
                <a:gd name="connsiteY3" fmla="*/ 4645573 h 4645573"/>
                <a:gd name="connsiteX4" fmla="*/ 0 w 1633246"/>
                <a:gd name="connsiteY4" fmla="*/ 3874670 h 4645573"/>
                <a:gd name="connsiteX5" fmla="*/ 0 w 1633246"/>
                <a:gd name="connsiteY5" fmla="*/ 770903 h 4645573"/>
                <a:gd name="connsiteX6" fmla="*/ 770903 w 1633246"/>
                <a:gd name="connsiteY6" fmla="*/ 0 h 4645573"/>
                <a:gd name="connsiteX7" fmla="*/ 770903 w 1633246"/>
                <a:gd name="connsiteY7" fmla="*/ 0 h 4645573"/>
                <a:gd name="connsiteX8" fmla="*/ 1633246 w 1633246"/>
                <a:gd name="connsiteY8" fmla="*/ 862343 h 4645573"/>
                <a:gd name="connsiteX0" fmla="*/ 1541806 w 1541806"/>
                <a:gd name="connsiteY0" fmla="*/ 770903 h 4645573"/>
                <a:gd name="connsiteX1" fmla="*/ 1541806 w 1541806"/>
                <a:gd name="connsiteY1" fmla="*/ 3874670 h 4645573"/>
                <a:gd name="connsiteX2" fmla="*/ 770903 w 1541806"/>
                <a:gd name="connsiteY2" fmla="*/ 4645573 h 4645573"/>
                <a:gd name="connsiteX3" fmla="*/ 770903 w 1541806"/>
                <a:gd name="connsiteY3" fmla="*/ 4645573 h 4645573"/>
                <a:gd name="connsiteX4" fmla="*/ 0 w 1541806"/>
                <a:gd name="connsiteY4" fmla="*/ 3874670 h 4645573"/>
                <a:gd name="connsiteX5" fmla="*/ 0 w 1541806"/>
                <a:gd name="connsiteY5" fmla="*/ 770903 h 4645573"/>
                <a:gd name="connsiteX6" fmla="*/ 770903 w 1541806"/>
                <a:gd name="connsiteY6" fmla="*/ 0 h 4645573"/>
                <a:gd name="connsiteX7" fmla="*/ 770903 w 1541806"/>
                <a:gd name="connsiteY7" fmla="*/ 0 h 4645573"/>
                <a:gd name="connsiteX0" fmla="*/ 1541806 w 1541806"/>
                <a:gd name="connsiteY0" fmla="*/ 3874670 h 4645573"/>
                <a:gd name="connsiteX1" fmla="*/ 770903 w 1541806"/>
                <a:gd name="connsiteY1" fmla="*/ 4645573 h 4645573"/>
                <a:gd name="connsiteX2" fmla="*/ 770903 w 1541806"/>
                <a:gd name="connsiteY2" fmla="*/ 4645573 h 4645573"/>
                <a:gd name="connsiteX3" fmla="*/ 0 w 1541806"/>
                <a:gd name="connsiteY3" fmla="*/ 3874670 h 4645573"/>
                <a:gd name="connsiteX4" fmla="*/ 0 w 1541806"/>
                <a:gd name="connsiteY4" fmla="*/ 770903 h 4645573"/>
                <a:gd name="connsiteX5" fmla="*/ 770903 w 1541806"/>
                <a:gd name="connsiteY5" fmla="*/ 0 h 4645573"/>
                <a:gd name="connsiteX6" fmla="*/ 770903 w 1541806"/>
                <a:gd name="connsiteY6" fmla="*/ 0 h 4645573"/>
                <a:gd name="connsiteX0" fmla="*/ 770903 w 770903"/>
                <a:gd name="connsiteY0" fmla="*/ 4645573 h 4645573"/>
                <a:gd name="connsiteX1" fmla="*/ 770903 w 770903"/>
                <a:gd name="connsiteY1" fmla="*/ 4645573 h 4645573"/>
                <a:gd name="connsiteX2" fmla="*/ 0 w 770903"/>
                <a:gd name="connsiteY2" fmla="*/ 3874670 h 4645573"/>
                <a:gd name="connsiteX3" fmla="*/ 0 w 770903"/>
                <a:gd name="connsiteY3" fmla="*/ 770903 h 4645573"/>
                <a:gd name="connsiteX4" fmla="*/ 770903 w 770903"/>
                <a:gd name="connsiteY4" fmla="*/ 0 h 4645573"/>
                <a:gd name="connsiteX5" fmla="*/ 770903 w 770903"/>
                <a:gd name="connsiteY5" fmla="*/ 0 h 464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0903" h="4645573">
                  <a:moveTo>
                    <a:pt x="770903" y="4645573"/>
                  </a:moveTo>
                  <a:lnTo>
                    <a:pt x="770903" y="4645573"/>
                  </a:lnTo>
                  <a:cubicBezTo>
                    <a:pt x="345145" y="4645573"/>
                    <a:pt x="0" y="4300428"/>
                    <a:pt x="0" y="3874670"/>
                  </a:cubicBezTo>
                  <a:lnTo>
                    <a:pt x="0" y="770903"/>
                  </a:lnTo>
                  <a:cubicBezTo>
                    <a:pt x="0" y="345145"/>
                    <a:pt x="345145" y="0"/>
                    <a:pt x="770903" y="0"/>
                  </a:cubicBezTo>
                  <a:lnTo>
                    <a:pt x="770903" y="0"/>
                  </a:lnTo>
                </a:path>
              </a:pathLst>
            </a:custGeom>
            <a:noFill/>
            <a:ln w="19050" cap="rnd">
              <a:solidFill>
                <a:srgbClr val="CACED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B8313FD9-0EA4-6C32-18C4-0708CF44392D}"/>
                </a:ext>
              </a:extLst>
            </p:cNvPr>
            <p:cNvCxnSpPr>
              <a:cxnSpLocks/>
            </p:cNvCxnSpPr>
            <p:nvPr/>
          </p:nvCxnSpPr>
          <p:spPr>
            <a:xfrm>
              <a:off x="4623371" y="3751951"/>
              <a:ext cx="744700" cy="0"/>
            </a:xfrm>
            <a:prstGeom prst="straightConnector1">
              <a:avLst/>
            </a:prstGeom>
            <a:ln w="19050" cap="rnd">
              <a:solidFill>
                <a:srgbClr val="CACED1"/>
              </a:solidFill>
              <a:round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Explosion: 8 Points 14">
            <a:extLst>
              <a:ext uri="{FF2B5EF4-FFF2-40B4-BE49-F238E27FC236}">
                <a16:creationId xmlns:a16="http://schemas.microsoft.com/office/drawing/2014/main" id="{50C269BA-16A0-7C9D-3F5B-835A17776423}"/>
              </a:ext>
            </a:extLst>
          </p:cNvPr>
          <p:cNvSpPr/>
          <p:nvPr/>
        </p:nvSpPr>
        <p:spPr>
          <a:xfrm>
            <a:off x="10961511" y="0"/>
            <a:ext cx="1230489" cy="1004710"/>
          </a:xfrm>
          <a:prstGeom prst="irregularSeal1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/>
          <a:lstStyle/>
          <a:p>
            <a:pPr algn="ctr"/>
            <a:r>
              <a:rPr lang="en-US" sz="1600" b="1">
                <a:cs typeface="Arial"/>
              </a:rPr>
              <a:t>LIVE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9998A69-F957-1AFA-D5A7-6083967634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4909" y="1596198"/>
            <a:ext cx="4618120" cy="442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89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69F31-BF85-614E-9D06-00989F090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908" y="294468"/>
            <a:ext cx="4739097" cy="768263"/>
          </a:xfrm>
        </p:spPr>
        <p:txBody>
          <a:bodyPr/>
          <a:lstStyle/>
          <a:p>
            <a:r>
              <a:rPr lang="en-US"/>
              <a:t>Feature Story</a:t>
            </a:r>
            <a:endParaRPr lang="en-US">
              <a:cs typeface="Arial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53AA08-F1D5-EC49-97EC-8A66AE278B3F}"/>
              </a:ext>
            </a:extLst>
          </p:cNvPr>
          <p:cNvSpPr/>
          <p:nvPr/>
        </p:nvSpPr>
        <p:spPr>
          <a:xfrm>
            <a:off x="432735" y="1441739"/>
            <a:ext cx="3216124" cy="4512624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45720" rtlCol="0" anchor="ctr" anchorCtr="0"/>
          <a:lstStyle/>
          <a:p>
            <a:r>
              <a:rPr lang="en-GB" sz="1600">
                <a:solidFill>
                  <a:srgbClr val="212121"/>
                </a:solidFill>
                <a:ea typeface="+mn-lt"/>
                <a:cs typeface="+mn-lt"/>
              </a:rPr>
              <a:t>We are excited to launch the new </a:t>
            </a:r>
            <a:r>
              <a:rPr lang="en-GB" sz="1600" b="1">
                <a:solidFill>
                  <a:srgbClr val="212121"/>
                </a:solidFill>
                <a:ea typeface="+mn-lt"/>
                <a:cs typeface="+mn-lt"/>
              </a:rPr>
              <a:t>Feature Story</a:t>
            </a:r>
            <a:r>
              <a:rPr lang="en-GB" sz="1600">
                <a:solidFill>
                  <a:srgbClr val="212121"/>
                </a:solidFill>
                <a:ea typeface="+mn-lt"/>
                <a:cs typeface="+mn-lt"/>
              </a:rPr>
              <a:t> module. This module is crafted to provide an engaging and interactive experience, perfect for showcasing key stories or topics. It includes striking full-bleed background images and an intuitive tile-based navigation system for seamless story transitions.</a:t>
            </a:r>
          </a:p>
        </p:txBody>
      </p:sp>
      <p:pic>
        <p:nvPicPr>
          <p:cNvPr id="10" name="Picture 9" descr="A group of people looking at something&#10;&#10;Description automatically generated">
            <a:extLst>
              <a:ext uri="{FF2B5EF4-FFF2-40B4-BE49-F238E27FC236}">
                <a16:creationId xmlns:a16="http://schemas.microsoft.com/office/drawing/2014/main" id="{9E7037BB-1788-DAAE-BB50-DA9E4AFD16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0679" y="1690688"/>
            <a:ext cx="6096000" cy="3429000"/>
          </a:xfrm>
          <a:prstGeom prst="roundRect">
            <a:avLst>
              <a:gd name="adj" fmla="val 3876"/>
            </a:avLst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9009F93-2DF7-621F-244C-CBA29D0E5CBC}"/>
              </a:ext>
            </a:extLst>
          </p:cNvPr>
          <p:cNvGrpSpPr/>
          <p:nvPr/>
        </p:nvGrpSpPr>
        <p:grpSpPr>
          <a:xfrm>
            <a:off x="3648859" y="1465951"/>
            <a:ext cx="1408608" cy="4464200"/>
            <a:chOff x="3959463" y="1519851"/>
            <a:chExt cx="1408608" cy="4464200"/>
          </a:xfrm>
        </p:grpSpPr>
        <p:sp>
          <p:nvSpPr>
            <p:cNvPr id="4" name="Rectangle: Rounded Corners 7">
              <a:extLst>
                <a:ext uri="{FF2B5EF4-FFF2-40B4-BE49-F238E27FC236}">
                  <a16:creationId xmlns:a16="http://schemas.microsoft.com/office/drawing/2014/main" id="{5FF04C24-D3A5-73D4-B3DC-54E065DE9369}"/>
                </a:ext>
              </a:extLst>
            </p:cNvPr>
            <p:cNvSpPr/>
            <p:nvPr/>
          </p:nvSpPr>
          <p:spPr>
            <a:xfrm rot="10800000">
              <a:off x="3959463" y="1519851"/>
              <a:ext cx="659174" cy="4464200"/>
            </a:xfrm>
            <a:custGeom>
              <a:avLst/>
              <a:gdLst>
                <a:gd name="connsiteX0" fmla="*/ 0 w 1541806"/>
                <a:gd name="connsiteY0" fmla="*/ 770903 h 4645573"/>
                <a:gd name="connsiteX1" fmla="*/ 770903 w 1541806"/>
                <a:gd name="connsiteY1" fmla="*/ 0 h 4645573"/>
                <a:gd name="connsiteX2" fmla="*/ 770903 w 1541806"/>
                <a:gd name="connsiteY2" fmla="*/ 0 h 4645573"/>
                <a:gd name="connsiteX3" fmla="*/ 1541806 w 1541806"/>
                <a:gd name="connsiteY3" fmla="*/ 770903 h 4645573"/>
                <a:gd name="connsiteX4" fmla="*/ 1541806 w 1541806"/>
                <a:gd name="connsiteY4" fmla="*/ 3874670 h 4645573"/>
                <a:gd name="connsiteX5" fmla="*/ 770903 w 1541806"/>
                <a:gd name="connsiteY5" fmla="*/ 4645573 h 4645573"/>
                <a:gd name="connsiteX6" fmla="*/ 770903 w 1541806"/>
                <a:gd name="connsiteY6" fmla="*/ 4645573 h 4645573"/>
                <a:gd name="connsiteX7" fmla="*/ 0 w 1541806"/>
                <a:gd name="connsiteY7" fmla="*/ 3874670 h 4645573"/>
                <a:gd name="connsiteX8" fmla="*/ 0 w 1541806"/>
                <a:gd name="connsiteY8" fmla="*/ 770903 h 4645573"/>
                <a:gd name="connsiteX0" fmla="*/ 1541806 w 1633246"/>
                <a:gd name="connsiteY0" fmla="*/ 770903 h 4645573"/>
                <a:gd name="connsiteX1" fmla="*/ 1541806 w 1633246"/>
                <a:gd name="connsiteY1" fmla="*/ 3874670 h 4645573"/>
                <a:gd name="connsiteX2" fmla="*/ 770903 w 1633246"/>
                <a:gd name="connsiteY2" fmla="*/ 4645573 h 4645573"/>
                <a:gd name="connsiteX3" fmla="*/ 770903 w 1633246"/>
                <a:gd name="connsiteY3" fmla="*/ 4645573 h 4645573"/>
                <a:gd name="connsiteX4" fmla="*/ 0 w 1633246"/>
                <a:gd name="connsiteY4" fmla="*/ 3874670 h 4645573"/>
                <a:gd name="connsiteX5" fmla="*/ 0 w 1633246"/>
                <a:gd name="connsiteY5" fmla="*/ 770903 h 4645573"/>
                <a:gd name="connsiteX6" fmla="*/ 770903 w 1633246"/>
                <a:gd name="connsiteY6" fmla="*/ 0 h 4645573"/>
                <a:gd name="connsiteX7" fmla="*/ 770903 w 1633246"/>
                <a:gd name="connsiteY7" fmla="*/ 0 h 4645573"/>
                <a:gd name="connsiteX8" fmla="*/ 1633246 w 1633246"/>
                <a:gd name="connsiteY8" fmla="*/ 862343 h 4645573"/>
                <a:gd name="connsiteX0" fmla="*/ 1541806 w 1541806"/>
                <a:gd name="connsiteY0" fmla="*/ 770903 h 4645573"/>
                <a:gd name="connsiteX1" fmla="*/ 1541806 w 1541806"/>
                <a:gd name="connsiteY1" fmla="*/ 3874670 h 4645573"/>
                <a:gd name="connsiteX2" fmla="*/ 770903 w 1541806"/>
                <a:gd name="connsiteY2" fmla="*/ 4645573 h 4645573"/>
                <a:gd name="connsiteX3" fmla="*/ 770903 w 1541806"/>
                <a:gd name="connsiteY3" fmla="*/ 4645573 h 4645573"/>
                <a:gd name="connsiteX4" fmla="*/ 0 w 1541806"/>
                <a:gd name="connsiteY4" fmla="*/ 3874670 h 4645573"/>
                <a:gd name="connsiteX5" fmla="*/ 0 w 1541806"/>
                <a:gd name="connsiteY5" fmla="*/ 770903 h 4645573"/>
                <a:gd name="connsiteX6" fmla="*/ 770903 w 1541806"/>
                <a:gd name="connsiteY6" fmla="*/ 0 h 4645573"/>
                <a:gd name="connsiteX7" fmla="*/ 770903 w 1541806"/>
                <a:gd name="connsiteY7" fmla="*/ 0 h 4645573"/>
                <a:gd name="connsiteX0" fmla="*/ 1541806 w 1541806"/>
                <a:gd name="connsiteY0" fmla="*/ 3874670 h 4645573"/>
                <a:gd name="connsiteX1" fmla="*/ 770903 w 1541806"/>
                <a:gd name="connsiteY1" fmla="*/ 4645573 h 4645573"/>
                <a:gd name="connsiteX2" fmla="*/ 770903 w 1541806"/>
                <a:gd name="connsiteY2" fmla="*/ 4645573 h 4645573"/>
                <a:gd name="connsiteX3" fmla="*/ 0 w 1541806"/>
                <a:gd name="connsiteY3" fmla="*/ 3874670 h 4645573"/>
                <a:gd name="connsiteX4" fmla="*/ 0 w 1541806"/>
                <a:gd name="connsiteY4" fmla="*/ 770903 h 4645573"/>
                <a:gd name="connsiteX5" fmla="*/ 770903 w 1541806"/>
                <a:gd name="connsiteY5" fmla="*/ 0 h 4645573"/>
                <a:gd name="connsiteX6" fmla="*/ 770903 w 1541806"/>
                <a:gd name="connsiteY6" fmla="*/ 0 h 4645573"/>
                <a:gd name="connsiteX0" fmla="*/ 770903 w 770903"/>
                <a:gd name="connsiteY0" fmla="*/ 4645573 h 4645573"/>
                <a:gd name="connsiteX1" fmla="*/ 770903 w 770903"/>
                <a:gd name="connsiteY1" fmla="*/ 4645573 h 4645573"/>
                <a:gd name="connsiteX2" fmla="*/ 0 w 770903"/>
                <a:gd name="connsiteY2" fmla="*/ 3874670 h 4645573"/>
                <a:gd name="connsiteX3" fmla="*/ 0 w 770903"/>
                <a:gd name="connsiteY3" fmla="*/ 770903 h 4645573"/>
                <a:gd name="connsiteX4" fmla="*/ 770903 w 770903"/>
                <a:gd name="connsiteY4" fmla="*/ 0 h 4645573"/>
                <a:gd name="connsiteX5" fmla="*/ 770903 w 770903"/>
                <a:gd name="connsiteY5" fmla="*/ 0 h 464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0903" h="4645573">
                  <a:moveTo>
                    <a:pt x="770903" y="4645573"/>
                  </a:moveTo>
                  <a:lnTo>
                    <a:pt x="770903" y="4645573"/>
                  </a:lnTo>
                  <a:cubicBezTo>
                    <a:pt x="345145" y="4645573"/>
                    <a:pt x="0" y="4300428"/>
                    <a:pt x="0" y="3874670"/>
                  </a:cubicBezTo>
                  <a:lnTo>
                    <a:pt x="0" y="770903"/>
                  </a:lnTo>
                  <a:cubicBezTo>
                    <a:pt x="0" y="345145"/>
                    <a:pt x="345145" y="0"/>
                    <a:pt x="770903" y="0"/>
                  </a:cubicBezTo>
                  <a:lnTo>
                    <a:pt x="770903" y="0"/>
                  </a:lnTo>
                </a:path>
              </a:pathLst>
            </a:custGeom>
            <a:noFill/>
            <a:ln w="19050" cap="rnd">
              <a:solidFill>
                <a:srgbClr val="CACED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2721E044-B199-0D65-94D6-32FC2893FDC6}"/>
                </a:ext>
              </a:extLst>
            </p:cNvPr>
            <p:cNvCxnSpPr>
              <a:cxnSpLocks/>
            </p:cNvCxnSpPr>
            <p:nvPr/>
          </p:nvCxnSpPr>
          <p:spPr>
            <a:xfrm>
              <a:off x="4623371" y="3751951"/>
              <a:ext cx="744700" cy="0"/>
            </a:xfrm>
            <a:prstGeom prst="straightConnector1">
              <a:avLst/>
            </a:prstGeom>
            <a:ln w="19050" cap="rnd">
              <a:solidFill>
                <a:srgbClr val="CACED1"/>
              </a:solidFill>
              <a:round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Explosion: 8 Points 8">
            <a:extLst>
              <a:ext uri="{FF2B5EF4-FFF2-40B4-BE49-F238E27FC236}">
                <a16:creationId xmlns:a16="http://schemas.microsoft.com/office/drawing/2014/main" id="{D2479035-FEAC-0086-CBB4-4C7CFE82D436}"/>
              </a:ext>
            </a:extLst>
          </p:cNvPr>
          <p:cNvSpPr/>
          <p:nvPr/>
        </p:nvSpPr>
        <p:spPr>
          <a:xfrm>
            <a:off x="10961511" y="0"/>
            <a:ext cx="1230489" cy="1004710"/>
          </a:xfrm>
          <a:prstGeom prst="irregularSeal1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/>
          <a:lstStyle/>
          <a:p>
            <a:pPr algn="ctr"/>
            <a:r>
              <a:rPr lang="en-US" sz="1600" b="1">
                <a:cs typeface="Arial"/>
              </a:rPr>
              <a:t>LIV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9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25190-1952-A942-3CB5-0455D79BA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E683D27-A50B-6C65-13DC-2FB996D1D5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4" y="1081826"/>
            <a:ext cx="11338560" cy="402336"/>
          </a:xfrm>
        </p:spPr>
        <p:txBody>
          <a:bodyPr/>
          <a:lstStyle/>
          <a:p>
            <a:r>
              <a:rPr lang="en-US" sz="1400">
                <a:hlinkClick r:id="rId2"/>
              </a:rPr>
              <a:t>https://</a:t>
            </a:r>
            <a:r>
              <a:rPr lang="en-US" sz="1400" err="1">
                <a:hlinkClick r:id="rId2"/>
              </a:rPr>
              <a:t>brandworld.iqvia.com</a:t>
            </a:r>
            <a:r>
              <a:rPr lang="en-US" sz="1400">
                <a:hlinkClick r:id="rId2"/>
              </a:rPr>
              <a:t>/guidelines/guide/bf2ae22c-d796-4613-bc79-ca168125730a/page/92c0f85b-3d67-4e41-bb4d-029220fb56b7</a:t>
            </a:r>
            <a:endParaRPr lang="en-US" sz="14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D63A84-BA9A-CC7B-EA2E-8E0AB0652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 anchor="b" anchorCtr="0">
            <a:normAutofit/>
          </a:bodyPr>
          <a:lstStyle/>
          <a:p>
            <a:r>
              <a:rPr lang="en-US"/>
              <a:t>“What’s New” page added to Brand World website guidelines</a:t>
            </a:r>
            <a:endParaRPr lang="en-US" b="1" kern="1200"/>
          </a:p>
        </p:txBody>
      </p:sp>
      <p:sp>
        <p:nvSpPr>
          <p:cNvPr id="30" name="Footer Placeholder 5">
            <a:extLst>
              <a:ext uri="{FF2B5EF4-FFF2-40B4-BE49-F238E27FC236}">
                <a16:creationId xmlns:a16="http://schemas.microsoft.com/office/drawing/2014/main" id="{CE30FBCC-3D73-667C-4D57-2E3C8D41F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0CBCDD-47F0-356B-4744-5240F3D39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3511" y="1767680"/>
            <a:ext cx="3871114" cy="42366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F6A0DC-BCFE-CF62-AC43-35683E3035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372" y="1767680"/>
            <a:ext cx="4841859" cy="400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61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FE9411-3834-31D8-9EFA-ADACF20BD5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2000" i="1" dirty="0">
                <a:solidFill>
                  <a:schemeClr val="accent1"/>
                </a:solidFill>
                <a:hlinkClick r:id="rId2"/>
              </a:rPr>
              <a:t>http://cms-www.work.iqvia.com/landing/module-gallery</a:t>
            </a:r>
            <a:endParaRPr lang="en-US" sz="2000" i="1" dirty="0">
              <a:solidFill>
                <a:schemeClr val="accent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5C6E017-E138-B657-236E-1070A7156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gallery pag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CB4590-F377-52A1-C93F-375C2DBBAE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ED815F-94C7-26A1-E934-3A8AA0FE92CA}"/>
              </a:ext>
            </a:extLst>
          </p:cNvPr>
          <p:cNvSpPr txBox="1"/>
          <p:nvPr/>
        </p:nvSpPr>
        <p:spPr>
          <a:xfrm>
            <a:off x="384694" y="2151727"/>
            <a:ext cx="411684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-US" sz="1600" b="0" i="0">
                <a:solidFill>
                  <a:srgbClr val="334E5C"/>
                </a:solidFill>
                <a:effectLst/>
              </a:rPr>
              <a:t>Explore and engage with the modules within the page to determine the optimal way to showcase your content.</a:t>
            </a:r>
          </a:p>
          <a:p>
            <a:pPr algn="l" rtl="0"/>
            <a:endParaRPr lang="en-US" sz="1600">
              <a:solidFill>
                <a:srgbClr val="334E5C"/>
              </a:solidFill>
            </a:endParaRPr>
          </a:p>
          <a:p>
            <a:pPr algn="l" rtl="0"/>
            <a:r>
              <a:rPr lang="en-US" sz="1600" b="0" i="0">
                <a:solidFill>
                  <a:srgbClr val="334E5C"/>
                </a:solidFill>
                <a:effectLst/>
              </a:rPr>
              <a:t>We’ve also included links in the Webpage Module Template deck that allow you to jump directly to the preview of a specific modul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C72DFD-DC65-331F-8EBC-91BBB3185E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2942" y="995817"/>
            <a:ext cx="2057578" cy="45495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765405-D8A7-24D6-7C4E-6C2ACC6B9D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791" y="893406"/>
            <a:ext cx="2164268" cy="468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10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5C4EA4-28EF-4A65-F8FF-2D6A01B5F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717851" y="6223917"/>
            <a:ext cx="7333287" cy="402336"/>
          </a:xfrm>
        </p:spPr>
        <p:txBody>
          <a:bodyPr/>
          <a:lstStyle/>
          <a:p>
            <a:r>
              <a:rPr lang="en-US" sz="1400">
                <a:solidFill>
                  <a:schemeClr val="accent2"/>
                </a:solidFill>
              </a:rPr>
              <a:t>*Please note that timeline can change based on many factors including budget &amp; priorities*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EF994-1BD9-ED4D-AF24-83D6496E4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726" y="117475"/>
            <a:ext cx="11338560" cy="768263"/>
          </a:xfrm>
        </p:spPr>
        <p:txBody>
          <a:bodyPr/>
          <a:lstStyle/>
          <a:p>
            <a:r>
              <a:rPr lang="en-US"/>
              <a:t>New Module Development: Planned Timelin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3A3BC2-52FE-1141-A473-70625F0C84F1}"/>
              </a:ext>
            </a:extLst>
          </p:cNvPr>
          <p:cNvSpPr txBox="1"/>
          <p:nvPr/>
        </p:nvSpPr>
        <p:spPr>
          <a:xfrm>
            <a:off x="3317777" y="4211313"/>
            <a:ext cx="2427154" cy="159039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50000"/>
              </a:lnSpc>
              <a:buFont typeface="Arial"/>
              <a:buChar char="•"/>
              <a:defRPr/>
            </a:pPr>
            <a:r>
              <a:rPr lang="da-DK" sz="1200" b="1">
                <a:solidFill>
                  <a:srgbClr val="2B3A42"/>
                </a:solidFill>
                <a:cs typeface="Arial" panose="020B0604020202020204"/>
              </a:rPr>
              <a:t>Feature Story - </a:t>
            </a:r>
            <a:r>
              <a:rPr lang="da-DK" sz="1200" b="1">
                <a:solidFill>
                  <a:schemeClr val="accent3"/>
                </a:solidFill>
                <a:cs typeface="Arial" panose="020B0604020202020204"/>
              </a:rPr>
              <a:t>LIVE</a:t>
            </a:r>
          </a:p>
          <a:p>
            <a:pPr marL="171450" indent="-171450">
              <a:lnSpc>
                <a:spcPct val="150000"/>
              </a:lnSpc>
              <a:buFont typeface="Arial"/>
              <a:buChar char="•"/>
              <a:defRPr/>
            </a:pPr>
            <a:r>
              <a:rPr lang="da-DK" sz="1200" b="1" err="1">
                <a:solidFill>
                  <a:srgbClr val="2B3A42"/>
                </a:solidFill>
                <a:cs typeface="Arial" panose="020B0604020202020204"/>
              </a:rPr>
              <a:t>Conversational</a:t>
            </a:r>
            <a:r>
              <a:rPr lang="da-DK" sz="1200" b="1">
                <a:solidFill>
                  <a:srgbClr val="2B3A42"/>
                </a:solidFill>
                <a:cs typeface="Arial" panose="020B0604020202020204"/>
              </a:rPr>
              <a:t> Search in Test</a:t>
            </a:r>
            <a:endParaRPr lang="da-DK"/>
          </a:p>
          <a:p>
            <a:pPr marL="171450" indent="-171450">
              <a:lnSpc>
                <a:spcPct val="150000"/>
              </a:lnSpc>
              <a:buFont typeface="Arial"/>
              <a:buChar char="•"/>
              <a:defRPr/>
            </a:pPr>
            <a:r>
              <a:rPr lang="da-DK" sz="1200" b="1" err="1">
                <a:solidFill>
                  <a:srgbClr val="2B3A42"/>
                </a:solidFill>
                <a:cs typeface="Arial" panose="020B0604020202020204"/>
              </a:rPr>
              <a:t>Horizontal</a:t>
            </a:r>
            <a:r>
              <a:rPr lang="da-DK" sz="1200" b="1">
                <a:solidFill>
                  <a:srgbClr val="2B3A42"/>
                </a:solidFill>
                <a:cs typeface="Arial" panose="020B0604020202020204"/>
              </a:rPr>
              <a:t> Storytelling</a:t>
            </a:r>
          </a:p>
          <a:p>
            <a:pPr marL="171450" indent="-171450">
              <a:lnSpc>
                <a:spcPct val="150000"/>
              </a:lnSpc>
              <a:buFont typeface="Arial"/>
              <a:buChar char="•"/>
              <a:defRPr/>
            </a:pPr>
            <a:r>
              <a:rPr lang="da-DK" sz="1200" b="1" err="1">
                <a:solidFill>
                  <a:srgbClr val="2B3A42"/>
                </a:solidFill>
                <a:cs typeface="Arial" panose="020B0604020202020204"/>
              </a:rPr>
              <a:t>Quote</a:t>
            </a:r>
            <a:r>
              <a:rPr lang="da-DK" sz="1200" b="1">
                <a:solidFill>
                  <a:srgbClr val="2B3A42"/>
                </a:solidFill>
                <a:cs typeface="Arial" panose="020B0604020202020204"/>
              </a:rPr>
              <a:t> </a:t>
            </a:r>
            <a:r>
              <a:rPr lang="da-DK" sz="1200" b="1" err="1">
                <a:solidFill>
                  <a:srgbClr val="2B3A42"/>
                </a:solidFill>
                <a:cs typeface="Arial" panose="020B0604020202020204"/>
              </a:rPr>
              <a:t>Testimonial</a:t>
            </a:r>
            <a:endParaRPr lang="da-DK" sz="1200" b="1">
              <a:solidFill>
                <a:srgbClr val="2B3A42"/>
              </a:solidFill>
              <a:cs typeface="Arial" panose="020B0604020202020204"/>
            </a:endParaRPr>
          </a:p>
          <a:p>
            <a:pPr marL="171450" indent="-171450">
              <a:lnSpc>
                <a:spcPct val="150000"/>
              </a:lnSpc>
              <a:buFont typeface="Arial"/>
              <a:buChar char="•"/>
              <a:defRPr/>
            </a:pPr>
            <a:r>
              <a:rPr lang="da-DK" sz="1200" b="1">
                <a:solidFill>
                  <a:srgbClr val="2B3A42"/>
                </a:solidFill>
                <a:cs typeface="Arial" panose="020B0604020202020204"/>
              </a:rPr>
              <a:t>Content </a:t>
            </a:r>
            <a:r>
              <a:rPr lang="da-DK" sz="1200" b="1" err="1">
                <a:solidFill>
                  <a:srgbClr val="2B3A42"/>
                </a:solidFill>
                <a:cs typeface="Arial" panose="020B0604020202020204"/>
              </a:rPr>
              <a:t>Ticker</a:t>
            </a:r>
            <a:endParaRPr lang="da-DK" sz="1200" b="1">
              <a:solidFill>
                <a:srgbClr val="2B3A42"/>
              </a:solidFill>
              <a:cs typeface="Arial" panose="020B0604020202020204"/>
            </a:endParaRPr>
          </a:p>
          <a:p>
            <a:pPr marL="171450" indent="-171450">
              <a:lnSpc>
                <a:spcPct val="150000"/>
              </a:lnSpc>
              <a:buFont typeface="Arial"/>
              <a:buChar char="•"/>
              <a:defRPr/>
            </a:pPr>
            <a:r>
              <a:rPr lang="da-DK" sz="1200" b="1">
                <a:solidFill>
                  <a:srgbClr val="2B3A42"/>
                </a:solidFill>
                <a:cs typeface="Arial" panose="020B0604020202020204"/>
              </a:rPr>
              <a:t>Interactive Case </a:t>
            </a:r>
            <a:r>
              <a:rPr lang="da-DK" sz="1200" b="1" err="1">
                <a:solidFill>
                  <a:srgbClr val="2B3A42"/>
                </a:solidFill>
                <a:cs typeface="Arial" panose="020B0604020202020204"/>
              </a:rPr>
              <a:t>Study</a:t>
            </a:r>
            <a:endParaRPr lang="en-US" sz="1200" b="1" err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endParaRPr lang="en-US" sz="1200">
              <a:solidFill>
                <a:srgbClr val="2B3A42"/>
              </a:solidFill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da-DK" sz="1200">
              <a:solidFill>
                <a:srgbClr val="2B3A42"/>
              </a:solidFill>
              <a:cs typeface="Arial" panose="020B060402020202020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57F496-B4E8-D846-BF26-93980BA2A518}"/>
              </a:ext>
            </a:extLst>
          </p:cNvPr>
          <p:cNvSpPr txBox="1"/>
          <p:nvPr/>
        </p:nvSpPr>
        <p:spPr>
          <a:xfrm>
            <a:off x="6231738" y="1365999"/>
            <a:ext cx="2617993" cy="154159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da-DK" sz="1200" b="1">
                <a:solidFill>
                  <a:srgbClr val="2B3A42"/>
                </a:solidFill>
                <a:cs typeface="Arial"/>
              </a:rPr>
              <a:t>Conversational Search launch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Blog Landing Page – Redesign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Blog Category – Redesign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Audio Clips 50-50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Audio Clips Carousel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Audio Clips Single Card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FAQ Accordion</a:t>
            </a:r>
            <a:endParaRPr lang="en-US" sz="1200" b="1">
              <a:solidFill>
                <a:srgbClr val="2B3A42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endParaRPr lang="en-US" sz="1200">
              <a:solidFill>
                <a:srgbClr val="2B3A42"/>
              </a:solidFill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endParaRPr lang="en-US" sz="1200">
              <a:solidFill>
                <a:srgbClr val="2B3A42"/>
              </a:solidFill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da-DK" sz="1100">
              <a:solidFill>
                <a:schemeClr val="tx2"/>
              </a:solidFill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14DA17-E685-8947-816A-9282149E9F1E}"/>
              </a:ext>
            </a:extLst>
          </p:cNvPr>
          <p:cNvSpPr txBox="1"/>
          <p:nvPr/>
        </p:nvSpPr>
        <p:spPr>
          <a:xfrm>
            <a:off x="8907069" y="4211732"/>
            <a:ext cx="2427154" cy="9568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880" indent="-182880">
              <a:spcAft>
                <a:spcPts val="3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Main Navigation – Redesign</a:t>
            </a:r>
          </a:p>
          <a:p>
            <a:pPr marL="182880" indent="-182880">
              <a:spcAft>
                <a:spcPts val="3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Sub Navigation – Re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da-DK" sz="1100">
              <a:solidFill>
                <a:srgbClr val="606B71"/>
              </a:solidFill>
              <a:cs typeface="Arial"/>
            </a:endParaRPr>
          </a:p>
        </p:txBody>
      </p:sp>
      <p:sp>
        <p:nvSpPr>
          <p:cNvPr id="58" name="Rectangle: Rounded Corners 6">
            <a:extLst>
              <a:ext uri="{FF2B5EF4-FFF2-40B4-BE49-F238E27FC236}">
                <a16:creationId xmlns:a16="http://schemas.microsoft.com/office/drawing/2014/main" id="{08BE7B65-02BD-0E4C-AE77-5CB2D9E76846}"/>
              </a:ext>
            </a:extLst>
          </p:cNvPr>
          <p:cNvSpPr/>
          <p:nvPr/>
        </p:nvSpPr>
        <p:spPr>
          <a:xfrm>
            <a:off x="384694" y="3224787"/>
            <a:ext cx="11238346" cy="83410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ectangle: Rounded Corners 4">
            <a:extLst>
              <a:ext uri="{FF2B5EF4-FFF2-40B4-BE49-F238E27FC236}">
                <a16:creationId xmlns:a16="http://schemas.microsoft.com/office/drawing/2014/main" id="{0BFEA4C2-FE0A-FD4F-AC58-F8B93BA27B3E}"/>
              </a:ext>
            </a:extLst>
          </p:cNvPr>
          <p:cNvSpPr/>
          <p:nvPr/>
        </p:nvSpPr>
        <p:spPr>
          <a:xfrm>
            <a:off x="6971056" y="3205737"/>
            <a:ext cx="1459142" cy="834107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defRPr/>
            </a:pPr>
            <a:r>
              <a:rPr lang="en-US" sz="1600" b="1">
                <a:solidFill>
                  <a:srgbClr val="FFFFFF"/>
                </a:solidFill>
              </a:rPr>
              <a:t>Q1 2025</a:t>
            </a:r>
          </a:p>
        </p:txBody>
      </p:sp>
      <p:sp>
        <p:nvSpPr>
          <p:cNvPr id="61" name="Rectangle: Rounded Corners 5">
            <a:extLst>
              <a:ext uri="{FF2B5EF4-FFF2-40B4-BE49-F238E27FC236}">
                <a16:creationId xmlns:a16="http://schemas.microsoft.com/office/drawing/2014/main" id="{F20D527C-193E-F843-833B-7FBEB9A71DF1}"/>
              </a:ext>
            </a:extLst>
          </p:cNvPr>
          <p:cNvSpPr/>
          <p:nvPr/>
        </p:nvSpPr>
        <p:spPr>
          <a:xfrm>
            <a:off x="4036104" y="3216153"/>
            <a:ext cx="1480065" cy="834107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defRPr/>
            </a:pPr>
            <a:r>
              <a:rPr lang="en-US" sz="1600" b="1">
                <a:solidFill>
                  <a:srgbClr val="FFFFFF"/>
                </a:solidFill>
              </a:rPr>
              <a:t>Q4 2024</a:t>
            </a:r>
          </a:p>
        </p:txBody>
      </p:sp>
      <p:sp>
        <p:nvSpPr>
          <p:cNvPr id="62" name="Rectangle: Rounded Corners 6">
            <a:extLst>
              <a:ext uri="{FF2B5EF4-FFF2-40B4-BE49-F238E27FC236}">
                <a16:creationId xmlns:a16="http://schemas.microsoft.com/office/drawing/2014/main" id="{82ED21DF-5C2C-F44F-BAF8-12BBA3638032}"/>
              </a:ext>
            </a:extLst>
          </p:cNvPr>
          <p:cNvSpPr/>
          <p:nvPr/>
        </p:nvSpPr>
        <p:spPr>
          <a:xfrm>
            <a:off x="1218717" y="3205737"/>
            <a:ext cx="2331974" cy="834107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 2024</a:t>
            </a:r>
          </a:p>
        </p:txBody>
      </p:sp>
      <p:sp>
        <p:nvSpPr>
          <p:cNvPr id="75" name="Isosceles Triangle 7">
            <a:extLst>
              <a:ext uri="{FF2B5EF4-FFF2-40B4-BE49-F238E27FC236}">
                <a16:creationId xmlns:a16="http://schemas.microsoft.com/office/drawing/2014/main" id="{0B8A1198-189C-0F45-AE87-EE39C4CDC1C7}"/>
              </a:ext>
            </a:extLst>
          </p:cNvPr>
          <p:cNvSpPr/>
          <p:nvPr/>
        </p:nvSpPr>
        <p:spPr>
          <a:xfrm rot="5400000">
            <a:off x="2734961" y="3503220"/>
            <a:ext cx="877494" cy="288138"/>
          </a:xfrm>
          <a:custGeom>
            <a:avLst/>
            <a:gdLst>
              <a:gd name="connsiteX0" fmla="*/ 0 w 1079064"/>
              <a:gd name="connsiteY0" fmla="*/ 581889 h 581889"/>
              <a:gd name="connsiteX1" fmla="*/ 539532 w 1079064"/>
              <a:gd name="connsiteY1" fmla="*/ 0 h 581889"/>
              <a:gd name="connsiteX2" fmla="*/ 1079064 w 1079064"/>
              <a:gd name="connsiteY2" fmla="*/ 581889 h 581889"/>
              <a:gd name="connsiteX3" fmla="*/ 0 w 1079064"/>
              <a:gd name="connsiteY3" fmla="*/ 581889 h 581889"/>
              <a:gd name="connsiteX0" fmla="*/ 0 w 1079064"/>
              <a:gd name="connsiteY0" fmla="*/ 581889 h 591462"/>
              <a:gd name="connsiteX1" fmla="*/ 539532 w 1079064"/>
              <a:gd name="connsiteY1" fmla="*/ 0 h 591462"/>
              <a:gd name="connsiteX2" fmla="*/ 1079064 w 1079064"/>
              <a:gd name="connsiteY2" fmla="*/ 581889 h 591462"/>
              <a:gd name="connsiteX3" fmla="*/ 547347 w 1079064"/>
              <a:gd name="connsiteY3" fmla="*/ 591462 h 591462"/>
              <a:gd name="connsiteX4" fmla="*/ 0 w 1079064"/>
              <a:gd name="connsiteY4" fmla="*/ 581889 h 591462"/>
              <a:gd name="connsiteX0" fmla="*/ 547347 w 1079064"/>
              <a:gd name="connsiteY0" fmla="*/ 591462 h 682902"/>
              <a:gd name="connsiteX1" fmla="*/ 0 w 1079064"/>
              <a:gd name="connsiteY1" fmla="*/ 581889 h 682902"/>
              <a:gd name="connsiteX2" fmla="*/ 539532 w 1079064"/>
              <a:gd name="connsiteY2" fmla="*/ 0 h 682902"/>
              <a:gd name="connsiteX3" fmla="*/ 1079064 w 1079064"/>
              <a:gd name="connsiteY3" fmla="*/ 581889 h 682902"/>
              <a:gd name="connsiteX4" fmla="*/ 638787 w 1079064"/>
              <a:gd name="connsiteY4" fmla="*/ 682902 h 682902"/>
              <a:gd name="connsiteX0" fmla="*/ 547347 w 1079064"/>
              <a:gd name="connsiteY0" fmla="*/ 591462 h 591462"/>
              <a:gd name="connsiteX1" fmla="*/ 0 w 1079064"/>
              <a:gd name="connsiteY1" fmla="*/ 581889 h 591462"/>
              <a:gd name="connsiteX2" fmla="*/ 539532 w 1079064"/>
              <a:gd name="connsiteY2" fmla="*/ 0 h 591462"/>
              <a:gd name="connsiteX3" fmla="*/ 1079064 w 1079064"/>
              <a:gd name="connsiteY3" fmla="*/ 581889 h 591462"/>
              <a:gd name="connsiteX0" fmla="*/ 0 w 1079064"/>
              <a:gd name="connsiteY0" fmla="*/ 581889 h 581889"/>
              <a:gd name="connsiteX1" fmla="*/ 539532 w 1079064"/>
              <a:gd name="connsiteY1" fmla="*/ 0 h 581889"/>
              <a:gd name="connsiteX2" fmla="*/ 1079064 w 1079064"/>
              <a:gd name="connsiteY2" fmla="*/ 581889 h 581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9064" h="581889">
                <a:moveTo>
                  <a:pt x="0" y="581889"/>
                </a:moveTo>
                <a:lnTo>
                  <a:pt x="539532" y="0"/>
                </a:lnTo>
                <a:lnTo>
                  <a:pt x="1079064" y="581889"/>
                </a:lnTo>
              </a:path>
            </a:pathLst>
          </a:custGeom>
          <a:noFill/>
          <a:ln w="381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80" name="Rectangle: Rounded Corners 4">
            <a:extLst>
              <a:ext uri="{FF2B5EF4-FFF2-40B4-BE49-F238E27FC236}">
                <a16:creationId xmlns:a16="http://schemas.microsoft.com/office/drawing/2014/main" id="{FEA6451F-ACC2-D64B-86A3-1BB63E68582E}"/>
              </a:ext>
            </a:extLst>
          </p:cNvPr>
          <p:cNvSpPr/>
          <p:nvPr/>
        </p:nvSpPr>
        <p:spPr>
          <a:xfrm>
            <a:off x="9744075" y="3205737"/>
            <a:ext cx="1459142" cy="834107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defRPr/>
            </a:pPr>
            <a:r>
              <a:rPr lang="en-US" sz="1600" b="1">
                <a:solidFill>
                  <a:srgbClr val="FFFFFF"/>
                </a:solidFill>
              </a:rPr>
              <a:t>Q2 2025</a:t>
            </a:r>
          </a:p>
        </p:txBody>
      </p:sp>
      <p:sp>
        <p:nvSpPr>
          <p:cNvPr id="32" name="Isosceles Triangle 7">
            <a:extLst>
              <a:ext uri="{FF2B5EF4-FFF2-40B4-BE49-F238E27FC236}">
                <a16:creationId xmlns:a16="http://schemas.microsoft.com/office/drawing/2014/main" id="{D0577CA8-D6E9-7046-8C1D-200C861B3E84}"/>
              </a:ext>
            </a:extLst>
          </p:cNvPr>
          <p:cNvSpPr/>
          <p:nvPr/>
        </p:nvSpPr>
        <p:spPr>
          <a:xfrm rot="5400000">
            <a:off x="5648922" y="3503220"/>
            <a:ext cx="877494" cy="288138"/>
          </a:xfrm>
          <a:custGeom>
            <a:avLst/>
            <a:gdLst>
              <a:gd name="connsiteX0" fmla="*/ 0 w 1079064"/>
              <a:gd name="connsiteY0" fmla="*/ 581889 h 581889"/>
              <a:gd name="connsiteX1" fmla="*/ 539532 w 1079064"/>
              <a:gd name="connsiteY1" fmla="*/ 0 h 581889"/>
              <a:gd name="connsiteX2" fmla="*/ 1079064 w 1079064"/>
              <a:gd name="connsiteY2" fmla="*/ 581889 h 581889"/>
              <a:gd name="connsiteX3" fmla="*/ 0 w 1079064"/>
              <a:gd name="connsiteY3" fmla="*/ 581889 h 581889"/>
              <a:gd name="connsiteX0" fmla="*/ 0 w 1079064"/>
              <a:gd name="connsiteY0" fmla="*/ 581889 h 591462"/>
              <a:gd name="connsiteX1" fmla="*/ 539532 w 1079064"/>
              <a:gd name="connsiteY1" fmla="*/ 0 h 591462"/>
              <a:gd name="connsiteX2" fmla="*/ 1079064 w 1079064"/>
              <a:gd name="connsiteY2" fmla="*/ 581889 h 591462"/>
              <a:gd name="connsiteX3" fmla="*/ 547347 w 1079064"/>
              <a:gd name="connsiteY3" fmla="*/ 591462 h 591462"/>
              <a:gd name="connsiteX4" fmla="*/ 0 w 1079064"/>
              <a:gd name="connsiteY4" fmla="*/ 581889 h 591462"/>
              <a:gd name="connsiteX0" fmla="*/ 547347 w 1079064"/>
              <a:gd name="connsiteY0" fmla="*/ 591462 h 682902"/>
              <a:gd name="connsiteX1" fmla="*/ 0 w 1079064"/>
              <a:gd name="connsiteY1" fmla="*/ 581889 h 682902"/>
              <a:gd name="connsiteX2" fmla="*/ 539532 w 1079064"/>
              <a:gd name="connsiteY2" fmla="*/ 0 h 682902"/>
              <a:gd name="connsiteX3" fmla="*/ 1079064 w 1079064"/>
              <a:gd name="connsiteY3" fmla="*/ 581889 h 682902"/>
              <a:gd name="connsiteX4" fmla="*/ 638787 w 1079064"/>
              <a:gd name="connsiteY4" fmla="*/ 682902 h 682902"/>
              <a:gd name="connsiteX0" fmla="*/ 547347 w 1079064"/>
              <a:gd name="connsiteY0" fmla="*/ 591462 h 591462"/>
              <a:gd name="connsiteX1" fmla="*/ 0 w 1079064"/>
              <a:gd name="connsiteY1" fmla="*/ 581889 h 591462"/>
              <a:gd name="connsiteX2" fmla="*/ 539532 w 1079064"/>
              <a:gd name="connsiteY2" fmla="*/ 0 h 591462"/>
              <a:gd name="connsiteX3" fmla="*/ 1079064 w 1079064"/>
              <a:gd name="connsiteY3" fmla="*/ 581889 h 591462"/>
              <a:gd name="connsiteX0" fmla="*/ 0 w 1079064"/>
              <a:gd name="connsiteY0" fmla="*/ 581889 h 581889"/>
              <a:gd name="connsiteX1" fmla="*/ 539532 w 1079064"/>
              <a:gd name="connsiteY1" fmla="*/ 0 h 581889"/>
              <a:gd name="connsiteX2" fmla="*/ 1079064 w 1079064"/>
              <a:gd name="connsiteY2" fmla="*/ 581889 h 581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9064" h="581889">
                <a:moveTo>
                  <a:pt x="0" y="581889"/>
                </a:moveTo>
                <a:lnTo>
                  <a:pt x="539532" y="0"/>
                </a:lnTo>
                <a:lnTo>
                  <a:pt x="1079064" y="581889"/>
                </a:lnTo>
              </a:path>
            </a:pathLst>
          </a:custGeom>
          <a:noFill/>
          <a:ln w="381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33" name="Isosceles Triangle 7">
            <a:extLst>
              <a:ext uri="{FF2B5EF4-FFF2-40B4-BE49-F238E27FC236}">
                <a16:creationId xmlns:a16="http://schemas.microsoft.com/office/drawing/2014/main" id="{CF01EFB9-F56B-F64C-BD85-E78430337139}"/>
              </a:ext>
            </a:extLst>
          </p:cNvPr>
          <p:cNvSpPr/>
          <p:nvPr/>
        </p:nvSpPr>
        <p:spPr>
          <a:xfrm rot="5400000">
            <a:off x="8468322" y="3503220"/>
            <a:ext cx="877494" cy="288138"/>
          </a:xfrm>
          <a:custGeom>
            <a:avLst/>
            <a:gdLst>
              <a:gd name="connsiteX0" fmla="*/ 0 w 1079064"/>
              <a:gd name="connsiteY0" fmla="*/ 581889 h 581889"/>
              <a:gd name="connsiteX1" fmla="*/ 539532 w 1079064"/>
              <a:gd name="connsiteY1" fmla="*/ 0 h 581889"/>
              <a:gd name="connsiteX2" fmla="*/ 1079064 w 1079064"/>
              <a:gd name="connsiteY2" fmla="*/ 581889 h 581889"/>
              <a:gd name="connsiteX3" fmla="*/ 0 w 1079064"/>
              <a:gd name="connsiteY3" fmla="*/ 581889 h 581889"/>
              <a:gd name="connsiteX0" fmla="*/ 0 w 1079064"/>
              <a:gd name="connsiteY0" fmla="*/ 581889 h 591462"/>
              <a:gd name="connsiteX1" fmla="*/ 539532 w 1079064"/>
              <a:gd name="connsiteY1" fmla="*/ 0 h 591462"/>
              <a:gd name="connsiteX2" fmla="*/ 1079064 w 1079064"/>
              <a:gd name="connsiteY2" fmla="*/ 581889 h 591462"/>
              <a:gd name="connsiteX3" fmla="*/ 547347 w 1079064"/>
              <a:gd name="connsiteY3" fmla="*/ 591462 h 591462"/>
              <a:gd name="connsiteX4" fmla="*/ 0 w 1079064"/>
              <a:gd name="connsiteY4" fmla="*/ 581889 h 591462"/>
              <a:gd name="connsiteX0" fmla="*/ 547347 w 1079064"/>
              <a:gd name="connsiteY0" fmla="*/ 591462 h 682902"/>
              <a:gd name="connsiteX1" fmla="*/ 0 w 1079064"/>
              <a:gd name="connsiteY1" fmla="*/ 581889 h 682902"/>
              <a:gd name="connsiteX2" fmla="*/ 539532 w 1079064"/>
              <a:gd name="connsiteY2" fmla="*/ 0 h 682902"/>
              <a:gd name="connsiteX3" fmla="*/ 1079064 w 1079064"/>
              <a:gd name="connsiteY3" fmla="*/ 581889 h 682902"/>
              <a:gd name="connsiteX4" fmla="*/ 638787 w 1079064"/>
              <a:gd name="connsiteY4" fmla="*/ 682902 h 682902"/>
              <a:gd name="connsiteX0" fmla="*/ 547347 w 1079064"/>
              <a:gd name="connsiteY0" fmla="*/ 591462 h 591462"/>
              <a:gd name="connsiteX1" fmla="*/ 0 w 1079064"/>
              <a:gd name="connsiteY1" fmla="*/ 581889 h 591462"/>
              <a:gd name="connsiteX2" fmla="*/ 539532 w 1079064"/>
              <a:gd name="connsiteY2" fmla="*/ 0 h 591462"/>
              <a:gd name="connsiteX3" fmla="*/ 1079064 w 1079064"/>
              <a:gd name="connsiteY3" fmla="*/ 581889 h 591462"/>
              <a:gd name="connsiteX0" fmla="*/ 0 w 1079064"/>
              <a:gd name="connsiteY0" fmla="*/ 581889 h 581889"/>
              <a:gd name="connsiteX1" fmla="*/ 539532 w 1079064"/>
              <a:gd name="connsiteY1" fmla="*/ 0 h 581889"/>
              <a:gd name="connsiteX2" fmla="*/ 1079064 w 1079064"/>
              <a:gd name="connsiteY2" fmla="*/ 581889 h 581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9064" h="581889">
                <a:moveTo>
                  <a:pt x="0" y="581889"/>
                </a:moveTo>
                <a:lnTo>
                  <a:pt x="539532" y="0"/>
                </a:lnTo>
                <a:lnTo>
                  <a:pt x="1079064" y="581889"/>
                </a:lnTo>
              </a:path>
            </a:pathLst>
          </a:custGeom>
          <a:noFill/>
          <a:ln w="381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3EF964-F71F-35A2-21AE-F3F0D11E473A}"/>
              </a:ext>
            </a:extLst>
          </p:cNvPr>
          <p:cNvSpPr txBox="1"/>
          <p:nvPr/>
        </p:nvSpPr>
        <p:spPr>
          <a:xfrm>
            <a:off x="372726" y="2059528"/>
            <a:ext cx="3435527" cy="11490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Tabbed Popup Widget - </a:t>
            </a:r>
            <a:r>
              <a:rPr lang="en-US" sz="1200" b="1">
                <a:solidFill>
                  <a:schemeClr val="accent3"/>
                </a:solidFill>
              </a:rPr>
              <a:t>LIVE</a:t>
            </a:r>
            <a:endParaRPr lang="en-US" sz="1200" b="1">
              <a:solidFill>
                <a:schemeClr val="accent3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Proof Point/Stat - </a:t>
            </a:r>
            <a:r>
              <a:rPr lang="en-US" sz="1200" b="1">
                <a:solidFill>
                  <a:schemeClr val="accent3"/>
                </a:solidFill>
              </a:rPr>
              <a:t>LIVE</a:t>
            </a:r>
            <a:endParaRPr lang="en-US" sz="1200" b="1">
              <a:solidFill>
                <a:schemeClr val="accent3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Proof Point/Stat Icon - </a:t>
            </a:r>
            <a:r>
              <a:rPr lang="en-US" sz="1200" b="1">
                <a:solidFill>
                  <a:schemeClr val="accent3"/>
                </a:solidFill>
              </a:rPr>
              <a:t>LIVE</a:t>
            </a:r>
            <a:endParaRPr lang="en-US" sz="1200" b="1">
              <a:solidFill>
                <a:schemeClr val="accent3"/>
              </a:solidFill>
              <a:cs typeface="Arial"/>
            </a:endParaRPr>
          </a:p>
          <a:p>
            <a:pPr marL="182880" indent="-182880">
              <a:spcAft>
                <a:spcPts val="600"/>
              </a:spcAft>
              <a:buFont typeface="Arial,Sans-Serif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2B3A42"/>
                </a:solidFill>
              </a:rPr>
              <a:t>Proof Point/Stat Image-Text Carousel - </a:t>
            </a:r>
            <a:r>
              <a:rPr lang="en-US" sz="1200" b="1">
                <a:solidFill>
                  <a:schemeClr val="accent3"/>
                </a:solidFill>
              </a:rPr>
              <a:t>LIVE</a:t>
            </a:r>
            <a:endParaRPr lang="en-US" sz="1200">
              <a:solidFill>
                <a:srgbClr val="2B3A42"/>
              </a:solidFill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da-DK" sz="1100">
              <a:solidFill>
                <a:schemeClr val="tx2"/>
              </a:solidFill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5302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75921F-E2CE-4D1D-B2C9-53542872E7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9226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Best Practice: </a:t>
            </a:r>
            <a:r>
              <a:rPr lang="en-US" i="1" dirty="0"/>
              <a:t>Hot Topics 2</a:t>
            </a:r>
          </a:p>
          <a:p>
            <a:r>
              <a:rPr lang="en-US" dirty="0"/>
              <a:t>Open Q&amp;A/Discus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733834"/>
            <a:ext cx="5004052" cy="4276349"/>
          </a:xfrm>
        </p:spPr>
        <p:txBody>
          <a:bodyPr/>
          <a:lstStyle/>
          <a:p>
            <a:r>
              <a:rPr lang="en-US" dirty="0"/>
              <a:t>Get your questions answered by the marketing automation team.  MA Open Office Hours are held monthly with the following agenda:</a:t>
            </a:r>
          </a:p>
          <a:p>
            <a:pPr lvl="1"/>
            <a:r>
              <a:rPr lang="en-US" dirty="0"/>
              <a:t>Learn about a tip or best practice  </a:t>
            </a:r>
          </a:p>
          <a:p>
            <a:pPr lvl="1"/>
            <a:r>
              <a:rPr lang="en-US" dirty="0"/>
              <a:t>Ask a question – Pre-submit your questions </a:t>
            </a:r>
            <a:r>
              <a:rPr lang="en-US" u="sng" dirty="0">
                <a:hlinkClick r:id="rId2"/>
              </a:rPr>
              <a:t>here</a:t>
            </a:r>
            <a:r>
              <a:rPr lang="en-US" u="sng" dirty="0"/>
              <a:t> </a:t>
            </a:r>
            <a:r>
              <a:rPr lang="en-US" dirty="0"/>
              <a:t>or ask during the office hour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Learn how to leverage IQVIA’s marketing systems and processes most effectively</a:t>
            </a:r>
            <a:endParaRPr lang="en-US" dirty="0">
              <a:cs typeface="Arial"/>
            </a:endParaRPr>
          </a:p>
          <a:p>
            <a:pPr lvl="1"/>
            <a:endParaRPr lang="en-US" dirty="0"/>
          </a:p>
          <a:p>
            <a:r>
              <a:rPr lang="en-US" b="1" u="sng" dirty="0"/>
              <a:t>Action:</a:t>
            </a:r>
            <a:r>
              <a:rPr lang="en-US" b="1" dirty="0"/>
              <a:t> </a:t>
            </a:r>
            <a:r>
              <a:rPr lang="en-US" dirty="0"/>
              <a:t>Sign up </a:t>
            </a:r>
            <a:r>
              <a:rPr lang="en-US" dirty="0">
                <a:hlinkClick r:id="rId3"/>
              </a:rPr>
              <a:t>here</a:t>
            </a:r>
            <a:r>
              <a:rPr lang="en-US" dirty="0"/>
              <a:t>, if you need to be added to the outlook invite</a:t>
            </a:r>
            <a:endParaRPr lang="en-US" dirty="0">
              <a:cs typeface="Arial"/>
            </a:endParaRPr>
          </a:p>
          <a:p>
            <a:endParaRPr lang="en-GB" dirty="0"/>
          </a:p>
          <a:p>
            <a:r>
              <a:rPr lang="en-US" b="1" u="sng" dirty="0">
                <a:cs typeface="Arial"/>
              </a:rPr>
              <a:t>Reminder: </a:t>
            </a:r>
            <a:r>
              <a:rPr lang="en-US" dirty="0">
                <a:cs typeface="Arial"/>
              </a:rPr>
              <a:t>Save your questions for the end or enter in the chat. We will address as many as we can!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Operations Open Office Hours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71DC2E-BABE-4487-B9E1-D802B0DB3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19AF8F-1FB0-147E-5457-062C5B7F41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4716193" cy="4994125"/>
          </a:xfrm>
        </p:spPr>
        <p:txBody>
          <a:bodyPr/>
          <a:lstStyle/>
          <a:p>
            <a:r>
              <a:rPr lang="en-GB" dirty="0"/>
              <a:t>Users facing issue with accessing Engage in Salesforce</a:t>
            </a:r>
          </a:p>
          <a:p>
            <a:r>
              <a:rPr lang="en-GB" dirty="0"/>
              <a:t>Seeing a grey error screen</a:t>
            </a:r>
          </a:p>
          <a:p>
            <a:r>
              <a:rPr lang="en-GB" dirty="0"/>
              <a:t>Issue is as a result of 3</a:t>
            </a:r>
            <a:r>
              <a:rPr lang="en-GB" baseline="30000" dirty="0"/>
              <a:t>rd </a:t>
            </a:r>
            <a:r>
              <a:rPr lang="en-GB" dirty="0"/>
              <a:t>party cookies being blocked</a:t>
            </a:r>
          </a:p>
          <a:p>
            <a:r>
              <a:rPr lang="en-GB" dirty="0"/>
              <a:t>Can be resolved by enabling 3</a:t>
            </a:r>
            <a:r>
              <a:rPr lang="en-GB" baseline="30000" dirty="0"/>
              <a:t>rd</a:t>
            </a:r>
            <a:r>
              <a:rPr lang="en-GB" dirty="0"/>
              <a:t> party cookies in Chrome</a:t>
            </a:r>
          </a:p>
          <a:p>
            <a:r>
              <a:rPr lang="en-GB" dirty="0"/>
              <a:t>In the address bar click on the eye icon with a line through it and then toggle 3</a:t>
            </a:r>
            <a:r>
              <a:rPr lang="en-GB" baseline="30000" dirty="0"/>
              <a:t>rd</a:t>
            </a:r>
            <a:r>
              <a:rPr lang="en-GB" dirty="0"/>
              <a:t> party cookies to be allowed</a:t>
            </a:r>
          </a:p>
          <a:p>
            <a:r>
              <a:rPr lang="en-GB" dirty="0"/>
              <a:t>May need to do this every 90 days</a:t>
            </a: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4F5817-674E-9C43-7643-302BD49C4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 issue in Salesfor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6BC8C0-96C8-498B-052A-CC7D920826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5DA1CA4A-FAB5-1BDD-76AB-E23AAA07DF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427" y="1224137"/>
            <a:ext cx="5086067" cy="1917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522936-A753-38B8-1944-8735FCA4E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8659" y="3429000"/>
            <a:ext cx="2637766" cy="384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29ABBC-03E0-1CB6-50FC-64100CA1B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0338" y="4020640"/>
            <a:ext cx="2093686" cy="21603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2511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080BA2-0174-C1E3-DD50-D305C0AA6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044556" cy="4994125"/>
          </a:xfrm>
        </p:spPr>
        <p:txBody>
          <a:bodyPr/>
          <a:lstStyle/>
          <a:p>
            <a:r>
              <a:rPr lang="en-GB"/>
              <a:t>Additional updates to Toolbox going live this week</a:t>
            </a:r>
          </a:p>
          <a:p>
            <a:pPr lvl="1"/>
            <a:r>
              <a:rPr lang="en-GB"/>
              <a:t>Updated FAQs</a:t>
            </a:r>
          </a:p>
          <a:p>
            <a:pPr lvl="1"/>
            <a:r>
              <a:rPr lang="en-GB"/>
              <a:t>Organizational Chart</a:t>
            </a:r>
          </a:p>
          <a:p>
            <a:pPr lvl="1"/>
            <a:r>
              <a:rPr lang="en-GB"/>
              <a:t>Public Holiday Calendar</a:t>
            </a:r>
          </a:p>
          <a:p>
            <a:pPr lvl="1"/>
            <a:endParaRPr lang="en-GB"/>
          </a:p>
          <a:p>
            <a:r>
              <a:rPr lang="en-GB"/>
              <a:t>Final updates still to be completed in the coming weeks include</a:t>
            </a:r>
          </a:p>
          <a:p>
            <a:pPr lvl="1">
              <a:buFontTx/>
              <a:buChar char="-"/>
            </a:pPr>
            <a:r>
              <a:rPr lang="en-GB"/>
              <a:t>Additional resources added to the Resources section (Direct Marketing guidance, Global privacy etc)</a:t>
            </a:r>
          </a:p>
          <a:p>
            <a:pPr lvl="1">
              <a:buFontTx/>
              <a:buChar char="-"/>
            </a:pPr>
            <a:r>
              <a:rPr lang="en-GB"/>
              <a:t>Word doc versions of EPG Health templates hosted in Help section</a:t>
            </a:r>
          </a:p>
          <a:p>
            <a:pPr marL="0" indent="0">
              <a:buNone/>
            </a:pPr>
            <a:r>
              <a:rPr lang="en-GB"/>
              <a:t>	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4A8BC-D566-CC98-DBBD-8112711B9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oolbox Updat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13451-203D-3EB0-F061-9AA361B8E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B128CD-D146-45B7-24EA-4146FF4B2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7037" y="740361"/>
            <a:ext cx="5579669" cy="26316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3EC739C-690E-317E-E466-301754D6D5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2586" y="2906733"/>
            <a:ext cx="4213066" cy="2534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979C8E5-4A88-FA63-F505-D320C6E0EB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2551" y="3485983"/>
            <a:ext cx="3754755" cy="27601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0067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54786B5-5B80-4E60-5E38-41541EE473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6492356" cy="4994125"/>
          </a:xfrm>
        </p:spPr>
        <p:txBody>
          <a:bodyPr/>
          <a:lstStyle/>
          <a:p>
            <a:r>
              <a:rPr lang="en-GB" dirty="0"/>
              <a:t>We have 7 calendars available to marketers, 4 specific to Outreach requests</a:t>
            </a:r>
          </a:p>
          <a:p>
            <a:pPr lvl="1"/>
            <a:r>
              <a:rPr lang="en-GB" sz="1200" b="1" dirty="0"/>
              <a:t>Outreach by Overall Status </a:t>
            </a:r>
            <a:r>
              <a:rPr lang="en-GB" sz="1200" dirty="0"/>
              <a:t>– Displays all Outreach Requests by their Status and can be filtered by Region, Audience or Status</a:t>
            </a:r>
          </a:p>
          <a:p>
            <a:pPr lvl="1"/>
            <a:r>
              <a:rPr lang="en-GB" sz="1200" b="1" dirty="0"/>
              <a:t>Outreach by Region </a:t>
            </a:r>
            <a:r>
              <a:rPr lang="en-GB" sz="1200" dirty="0"/>
              <a:t>– Displays Outreach by Region and Reporting Group and can be filtered by Region</a:t>
            </a:r>
          </a:p>
          <a:p>
            <a:pPr lvl="1"/>
            <a:r>
              <a:rPr lang="en-GB" sz="1200" b="1" dirty="0"/>
              <a:t>Outreach by Bullseye/Persona </a:t>
            </a:r>
            <a:r>
              <a:rPr lang="en-GB" sz="1200" dirty="0"/>
              <a:t>– Displays Outreach by Region and can be filtered by Bullseye/Persona</a:t>
            </a:r>
          </a:p>
          <a:p>
            <a:pPr lvl="1"/>
            <a:r>
              <a:rPr lang="en-GB" sz="1200" b="1" dirty="0"/>
              <a:t>Outreach by Stakeholder </a:t>
            </a:r>
            <a:r>
              <a:rPr lang="en-GB" sz="1200" dirty="0"/>
              <a:t>– Displays Outreach by the Marketer/Lead email address and can be filtered by Marketer</a:t>
            </a:r>
          </a:p>
          <a:p>
            <a:pPr lvl="1"/>
            <a:r>
              <a:rPr lang="en-GB" sz="1200" b="1" dirty="0"/>
              <a:t>Organic Social </a:t>
            </a:r>
            <a:r>
              <a:rPr lang="en-GB" sz="1200" dirty="0"/>
              <a:t>– Displays Organic Social requests (</a:t>
            </a:r>
            <a:r>
              <a:rPr lang="en-GB" sz="1200" dirty="0" err="1"/>
              <a:t>color</a:t>
            </a:r>
            <a:r>
              <a:rPr lang="en-GB" sz="1200" dirty="0"/>
              <a:t> coded by status) and can be filtered by Content Type and Reporting Group</a:t>
            </a:r>
          </a:p>
          <a:p>
            <a:pPr lvl="1"/>
            <a:r>
              <a:rPr lang="en-GB" sz="1200" b="1" dirty="0"/>
              <a:t>Website Requests </a:t>
            </a:r>
            <a:r>
              <a:rPr lang="en-GB" sz="1200" dirty="0"/>
              <a:t>– Displays Website requests, </a:t>
            </a:r>
            <a:r>
              <a:rPr lang="en-GB" sz="1200" dirty="0" err="1"/>
              <a:t>color</a:t>
            </a:r>
            <a:r>
              <a:rPr lang="en-GB" sz="1200" dirty="0"/>
              <a:t> coded by status, and can be filtered by Type and Reporting Group</a:t>
            </a:r>
          </a:p>
          <a:p>
            <a:pPr lvl="1"/>
            <a:r>
              <a:rPr lang="en-GB" sz="1200" b="1" dirty="0"/>
              <a:t>Paid Campaigns </a:t>
            </a:r>
            <a:r>
              <a:rPr lang="en-GB" sz="1200" dirty="0"/>
              <a:t>– Displays Paid Search and Paid Social campaigns, </a:t>
            </a:r>
            <a:r>
              <a:rPr lang="en-GB" sz="1200" dirty="0" err="1"/>
              <a:t>color</a:t>
            </a:r>
            <a:r>
              <a:rPr lang="en-GB" sz="1200" dirty="0"/>
              <a:t> coded by status and can be filtered by Campaign Type and Reporting Group</a:t>
            </a:r>
          </a:p>
          <a:p>
            <a:r>
              <a:rPr lang="en-GB" dirty="0"/>
              <a:t>Within each calendar you are able to filter, change the viewing period and you can also downloa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AC8385-0FCA-2C20-ED48-8F7F1EB6B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lenda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DFAA70-577C-6BFE-2FC3-3305B504FB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F9C7B5-FF8E-1141-D481-B5AD20899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2113" y="1286359"/>
            <a:ext cx="3990687" cy="30314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1B244B-4BC9-C0B3-0BDC-956BFB863B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1231" y="4425166"/>
            <a:ext cx="1528619" cy="17765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3132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EFB7DB5-AFC0-F698-C0B6-C5E7FD7FB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6294012" cy="4994125"/>
          </a:xfrm>
        </p:spPr>
        <p:txBody>
          <a:bodyPr/>
          <a:lstStyle/>
          <a:p>
            <a:r>
              <a:rPr lang="en-GB" dirty="0"/>
              <a:t>You will now need to have a campaign code before you can complete the following requests:-</a:t>
            </a:r>
          </a:p>
          <a:p>
            <a:pPr lvl="1"/>
            <a:r>
              <a:rPr lang="en-GB" dirty="0"/>
              <a:t>Organic Social</a:t>
            </a:r>
          </a:p>
          <a:p>
            <a:pPr lvl="1"/>
            <a:r>
              <a:rPr lang="en-GB" dirty="0"/>
              <a:t>Paid Social</a:t>
            </a:r>
          </a:p>
          <a:p>
            <a:pPr lvl="1"/>
            <a:r>
              <a:rPr lang="en-GB" dirty="0"/>
              <a:t>Paid Search</a:t>
            </a:r>
          </a:p>
          <a:p>
            <a:pPr lvl="1"/>
            <a:r>
              <a:rPr lang="en-GB" dirty="0"/>
              <a:t>External Activities Uploads</a:t>
            </a:r>
          </a:p>
          <a:p>
            <a:r>
              <a:rPr lang="en-GB" dirty="0"/>
              <a:t>When requesting a campaign code don’t paste in a full campaign code</a:t>
            </a:r>
          </a:p>
          <a:p>
            <a:r>
              <a:rPr lang="en-GB" dirty="0"/>
              <a:t>You can paste the full campaign code into the Campaign code fields on the various form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9EC057-992C-9E9F-B418-25BAC4282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mpaign Cod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215138-98B2-C660-CBBA-A0D1EAC4F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231169-631C-44ED-AB76-EE65A11E7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6608" y="1800171"/>
            <a:ext cx="4231344" cy="1983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A43206-22CD-98BE-E6F8-65A1165A3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6614" y="4277592"/>
            <a:ext cx="2820741" cy="1616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15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ECEE936-F585-3E89-DACE-F257B0F98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218247" cy="4994125"/>
          </a:xfrm>
        </p:spPr>
        <p:txBody>
          <a:bodyPr/>
          <a:lstStyle/>
          <a:p>
            <a:r>
              <a:rPr lang="en-GB" dirty="0"/>
              <a:t>Recently added fields related to Parent Campaign Codes on the Outreach request and Campaign Code only request forms</a:t>
            </a:r>
          </a:p>
          <a:p>
            <a:r>
              <a:rPr lang="en-GB" dirty="0"/>
              <a:t>Process is designed to save marketers time and ensure a smoother set-up of parent/child campaigns</a:t>
            </a:r>
          </a:p>
          <a:p>
            <a:r>
              <a:rPr lang="en-GB" dirty="0"/>
              <a:t>You can select if you have a parent campaign to link to and supply the full parent campaign code</a:t>
            </a:r>
          </a:p>
          <a:p>
            <a:r>
              <a:rPr lang="en-GB" dirty="0"/>
              <a:t>Marketing Operations will then link the campaigns and this will be reflected in Salesfor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6250BF-EC7E-C291-1385-CC3458AB1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ent campaign cod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1862C8-33A4-DE03-31DF-6AAD39AFC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7B0545-FC29-58BF-8E3D-A1E4EAF78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2453" y="2118495"/>
            <a:ext cx="4318194" cy="1718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118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080BA2-0174-C1E3-DD50-D305C0AA6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6330431" cy="4994125"/>
          </a:xfrm>
        </p:spPr>
        <p:txBody>
          <a:bodyPr/>
          <a:lstStyle/>
          <a:p>
            <a:r>
              <a:rPr lang="en-GB" sz="1400" dirty="0"/>
              <a:t>Lead Source values were updated on 21</a:t>
            </a:r>
            <a:r>
              <a:rPr lang="en-GB" sz="1400" baseline="30000" dirty="0"/>
              <a:t>st</a:t>
            </a:r>
            <a:r>
              <a:rPr lang="en-GB" sz="1400" dirty="0"/>
              <a:t> October in Salesforce</a:t>
            </a:r>
          </a:p>
          <a:p>
            <a:r>
              <a:rPr lang="en-GB" sz="1400" dirty="0"/>
              <a:t>These changes will improve data accuracy and consistency across campaigns, helping us better track lead performance and optimize marketing strategies.</a:t>
            </a:r>
          </a:p>
          <a:p>
            <a:r>
              <a:rPr lang="en-GB" sz="1400" dirty="0"/>
              <a:t>Request forms have been updated (Campaign Code only, Landing Page only, External Activities)</a:t>
            </a:r>
          </a:p>
          <a:p>
            <a:r>
              <a:rPr lang="en-GB" sz="1400" dirty="0"/>
              <a:t>New values have been added to the picklists in Eloqua:-</a:t>
            </a:r>
          </a:p>
          <a:p>
            <a:pPr lvl="1"/>
            <a:r>
              <a:rPr lang="en-GB" sz="1400" dirty="0"/>
              <a:t>Lead Source</a:t>
            </a:r>
          </a:p>
          <a:p>
            <a:pPr lvl="1"/>
            <a:r>
              <a:rPr lang="en-GB" sz="1400" dirty="0"/>
              <a:t>MQL Source</a:t>
            </a:r>
          </a:p>
          <a:p>
            <a:pPr lvl="1"/>
            <a:r>
              <a:rPr lang="en-GB" sz="1400" dirty="0"/>
              <a:t>Channel (Custom Campaign Field)</a:t>
            </a:r>
          </a:p>
          <a:p>
            <a:r>
              <a:rPr lang="en-GB" sz="1400" dirty="0"/>
              <a:t>Any uncertainty please reach out to Kristen or Phil</a:t>
            </a:r>
          </a:p>
          <a:p>
            <a:endParaRPr lang="en-GB" sz="1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4A8BC-D566-CC98-DBBD-8112711B9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Lead Source Value Updat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13451-203D-3EB0-F061-9AA361B8E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C9FFB0-1009-84BC-E567-0217817F9B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1631" y="1257866"/>
            <a:ext cx="4297551" cy="3000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EE957FC-4D59-32B4-5C66-6589970CCE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8813" y="3783420"/>
            <a:ext cx="2984646" cy="22492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217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2BF2B394-C116-4FD8-8097-904CF1E1A1C7}" vid="{299C8D79-C303-473B-A0C5-5D8409A37A8A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16" ma:contentTypeDescription="Create a new document." ma:contentTypeScope="" ma:versionID="462aaf31dcdf522561c146be05b251f4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9e6ee6a28acd404001292acf7e11d403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4819FA-8A53-4653-ABFC-1478ED469FDC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1c9b69b2-596d-4757-b9cd-cd8972304baa"/>
    <ds:schemaRef ds:uri="http://purl.org/dc/elements/1.1/"/>
    <ds:schemaRef ds:uri="http://purl.org/dc/terms/"/>
    <ds:schemaRef ds:uri="a3d99252-4236-4875-9705-b79300e2d557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2CA6650-5898-401A-A749-4430AFBC14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D7CD63-546F-44D8-80E6-1AF994EE8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99252-4236-4875-9705-b79300e2d557"/>
    <ds:schemaRef ds:uri="1c9b69b2-596d-4757-b9cd-cd8972304b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QVIA 2024</Template>
  <TotalTime>12714</TotalTime>
  <Words>1013</Words>
  <Application>Microsoft Office PowerPoint</Application>
  <PresentationFormat>Widescreen</PresentationFormat>
  <Paragraphs>117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Arial Narrow</vt:lpstr>
      <vt:lpstr>Arial,Sans-Serif</vt:lpstr>
      <vt:lpstr>Georgia</vt:lpstr>
      <vt:lpstr>System Font Regular</vt:lpstr>
      <vt:lpstr>Wingdings</vt:lpstr>
      <vt:lpstr>IQVIA_V3.0.0</vt:lpstr>
      <vt:lpstr>think-cell Slide</vt:lpstr>
      <vt:lpstr>Marketing Operations</vt:lpstr>
      <vt:lpstr>Agenda</vt:lpstr>
      <vt:lpstr>Marketing Operations Open Office Hours </vt:lpstr>
      <vt:lpstr>Engage issue in Salesforce</vt:lpstr>
      <vt:lpstr>Toolbox Updates</vt:lpstr>
      <vt:lpstr>Calendars</vt:lpstr>
      <vt:lpstr>Campaign Codes</vt:lpstr>
      <vt:lpstr>Parent campaign codes</vt:lpstr>
      <vt:lpstr>Lead Source Value Updates</vt:lpstr>
      <vt:lpstr>Enhanced proof point modules</vt:lpstr>
      <vt:lpstr>Tabbed Popup Widget </vt:lpstr>
      <vt:lpstr>Feature Story</vt:lpstr>
      <vt:lpstr>“What’s New” page added to Brand World website guidelines</vt:lpstr>
      <vt:lpstr>Module gallery page</vt:lpstr>
      <vt:lpstr>New Module Development: Planned Timeline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Operations</dc:title>
  <dc:creator>Cuff, Phil</dc:creator>
  <cp:lastModifiedBy>Cuff, Phil</cp:lastModifiedBy>
  <cp:revision>7</cp:revision>
  <cp:lastPrinted>2019-08-20T20:33:24Z</cp:lastPrinted>
  <dcterms:created xsi:type="dcterms:W3CDTF">2024-03-26T17:31:53Z</dcterms:created>
  <dcterms:modified xsi:type="dcterms:W3CDTF">2024-11-07T10:0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